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3.xml" ContentType="application/vnd.openxmlformats-officedocument.presentationml.tags+xml"/>
  <Override PartName="/ppt/notesSlides/notesSlide20.xml" ContentType="application/vnd.openxmlformats-officedocument.presentationml.notesSlide+xml"/>
  <Override PartName="/ppt/tags/tag4.xml" ContentType="application/vnd.openxmlformats-officedocument.presentationml.tags+xml"/>
  <Override PartName="/ppt/notesSlides/notesSlide21.xml" ContentType="application/vnd.openxmlformats-officedocument.presentationml.notesSlide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tags/tag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9"/>
  </p:notesMasterIdLst>
  <p:sldIdLst>
    <p:sldId id="256" r:id="rId2"/>
    <p:sldId id="257" r:id="rId3"/>
    <p:sldId id="258" r:id="rId4"/>
    <p:sldId id="295" r:id="rId5"/>
    <p:sldId id="286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94" r:id="rId14"/>
    <p:sldId id="288" r:id="rId15"/>
    <p:sldId id="270" r:id="rId16"/>
    <p:sldId id="271" r:id="rId17"/>
    <p:sldId id="272" r:id="rId18"/>
    <p:sldId id="289" r:id="rId19"/>
    <p:sldId id="290" r:id="rId20"/>
    <p:sldId id="291" r:id="rId21"/>
    <p:sldId id="282" r:id="rId22"/>
    <p:sldId id="292" r:id="rId23"/>
    <p:sldId id="285" r:id="rId24"/>
    <p:sldId id="277" r:id="rId25"/>
    <p:sldId id="293" r:id="rId26"/>
    <p:sldId id="279" r:id="rId27"/>
    <p:sldId id="280" r:id="rId28"/>
  </p:sldIdLst>
  <p:sldSz cx="12192000" cy="6858000"/>
  <p:notesSz cx="6858000" cy="9144000"/>
  <p:embeddedFontLst>
    <p:embeddedFont>
      <p:font typeface="Calibri" panose="020F0502020204030204" pitchFamily="34" charset="0"/>
      <p:regular r:id="rId30"/>
      <p:bold r:id="rId31"/>
      <p:italic r:id="rId32"/>
      <p:boldItalic r:id="rId33"/>
    </p:embeddedFont>
    <p:embeddedFont>
      <p:font typeface="Franklin Gothic" panose="020B0604020202020204" charset="0"/>
      <p:bold r:id="rId34"/>
    </p:embeddedFont>
    <p:embeddedFont>
      <p:font typeface="Gill Sans" panose="020B0604020202020204" charset="0"/>
      <p:regular r:id="rId35"/>
      <p:bold r:id="rId36"/>
    </p:embeddedFont>
    <p:embeddedFont>
      <p:font typeface="Libre Franklin" pitchFamily="2" charset="0"/>
      <p:regular r:id="rId37"/>
      <p:bold r:id="rId38"/>
      <p:italic r:id="rId39"/>
      <p:boldItalic r:id="rId40"/>
    </p:embeddedFont>
    <p:embeddedFont>
      <p:font typeface="Noto Sans" panose="020B0502040504020204" pitchFamily="34" charset="0"/>
      <p:regular r:id="rId41"/>
      <p:bold r:id="rId42"/>
      <p:italic r:id="rId43"/>
      <p:boldItalic r:id="rId44"/>
    </p:embeddedFont>
  </p:embeddedFontLst>
  <p:custDataLst>
    <p:tags r:id="rId4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7" roundtripDataSignature="AMtx7milhZJ1gkVWxG7Ah64tLsnzoHjrb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82" d="100"/>
          <a:sy n="82" d="100"/>
        </p:scale>
        <p:origin x="69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0.fntdata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customschemas.google.com/relationships/presentationmetadata" Target="metadata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17" name="Google Shape;31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Google Shape;65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60" name="Google Shape;660;p1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g121061837f4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2" name="Google Shape;692;g121061837f4_0_1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00" cy="25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Google Shape;721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22" name="Google Shape;722;p12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" name="Google Shape;751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52" name="Google Shape;75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" name="Google Shape;818;g1dc1ad7205f_0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19" name="Google Shape;819;g1dc1ad7205f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gebf1c9429d_0_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16" name="Google Shape;916;gebf1c9429d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3" name="Google Shape;1073;p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74" name="Google Shape;1074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p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34" name="Google Shape;1134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2017e917d32_0_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4" name="Google Shape;1244;g2017e917d32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23" name="Google Shape;32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470586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3" name="Google Shape;1323;p4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4" name="Google Shape;1324;p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304411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Google Shape;1156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7" name="Google Shape;1157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7113642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3" name="Google Shape;1323;p4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4" name="Google Shape;1324;p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7069579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3" name="Google Shape;1563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64" name="Google Shape;15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2" name="Google Shape;1612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13" name="Google Shape;161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8" name="Google Shape;1678;g2017e917d32_0_20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79" name="Google Shape;1679;g2017e917d32_0_2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" name="Google Shape;169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0" name="Google Shape;1700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01" name="Google Shape;1701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fr-FR"/>
              <a:t>27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8" name="Google Shape;34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1" name="Google Shape;37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127699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9" name="Google Shape;43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g1fc61549362_1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13" name="Google Shape;513;g1fc61549362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0" name="Google Shape;550;p8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Google Shape;578;p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06375" y="596900"/>
            <a:ext cx="6883400" cy="38719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9" name="Google Shape;579;p44:notes"/>
          <p:cNvSpPr txBox="1">
            <a:spLocks noGrp="1"/>
          </p:cNvSpPr>
          <p:nvPr>
            <p:ph type="body" idx="1"/>
          </p:nvPr>
        </p:nvSpPr>
        <p:spPr>
          <a:xfrm>
            <a:off x="579485" y="5546890"/>
            <a:ext cx="6096312" cy="255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27" name="Google Shape;62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Infomineo/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hyperlink" Target="https://infomineo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-beta/2416143/admin/updates/" TargetMode="External"/><Relationship Id="rId5" Type="http://schemas.openxmlformats.org/officeDocument/2006/relationships/image" Target="../media/image5.png"/><Relationship Id="rId4" Type="http://schemas.openxmlformats.org/officeDocument/2006/relationships/hyperlink" Target="https://infomineo.com/insights/blog/" TargetMode="External"/><Relationship Id="rId9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3)" type="title">
  <p:cSld name="TITLE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32;p15"/>
          <p:cNvPicPr preferRelativeResize="0"/>
          <p:nvPr/>
        </p:nvPicPr>
        <p:blipFill rotWithShape="1">
          <a:blip r:embed="rId2">
            <a:alphaModFix/>
          </a:blip>
          <a:srcRect t="15097" r="6942" b="15095"/>
          <a:stretch/>
        </p:blipFill>
        <p:spPr>
          <a:xfrm>
            <a:off x="550861" y="549274"/>
            <a:ext cx="11090275" cy="5759451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" name="Google Shape;33;p15"/>
          <p:cNvSpPr/>
          <p:nvPr/>
        </p:nvSpPr>
        <p:spPr>
          <a:xfrm>
            <a:off x="1083553" y="1080000"/>
            <a:ext cx="5816186" cy="577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" name="Google Shape;34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31950" y="1603956"/>
            <a:ext cx="2497452" cy="574280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15"/>
          <p:cNvSpPr txBox="1">
            <a:spLocks noGrp="1"/>
          </p:cNvSpPr>
          <p:nvPr>
            <p:ph type="dt" idx="10"/>
          </p:nvPr>
        </p:nvSpPr>
        <p:spPr>
          <a:xfrm>
            <a:off x="1631950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15"/>
          <p:cNvSpPr txBox="1"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5"/>
          <p:cNvSpPr txBox="1">
            <a:spLocks noGrp="1"/>
          </p:cNvSpPr>
          <p:nvPr>
            <p:ph type="subTitle" idx="1"/>
          </p:nvPr>
        </p:nvSpPr>
        <p:spPr>
          <a:xfrm>
            <a:off x="1631951" y="4892832"/>
            <a:ext cx="4799330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9" name="Google Shape;99;p24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35069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24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35069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24"/>
          <p:cNvSpPr txBox="1">
            <a:spLocks noGrp="1"/>
          </p:cNvSpPr>
          <p:nvPr>
            <p:ph type="body" idx="3"/>
          </p:nvPr>
        </p:nvSpPr>
        <p:spPr>
          <a:xfrm>
            <a:off x="8135839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24"/>
          <p:cNvSpPr txBox="1">
            <a:spLocks noGrp="1"/>
          </p:cNvSpPr>
          <p:nvPr>
            <p:ph type="body" idx="4"/>
          </p:nvPr>
        </p:nvSpPr>
        <p:spPr>
          <a:xfrm>
            <a:off x="8135839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" name="Google Shape;103;p24"/>
          <p:cNvSpPr txBox="1">
            <a:spLocks noGrp="1"/>
          </p:cNvSpPr>
          <p:nvPr>
            <p:ph type="body" idx="5"/>
          </p:nvPr>
        </p:nvSpPr>
        <p:spPr>
          <a:xfrm>
            <a:off x="4344162" y="2175803"/>
            <a:ext cx="35053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24"/>
          <p:cNvSpPr txBox="1">
            <a:spLocks noGrp="1"/>
          </p:cNvSpPr>
          <p:nvPr>
            <p:ph type="body" idx="6"/>
          </p:nvPr>
        </p:nvSpPr>
        <p:spPr>
          <a:xfrm>
            <a:off x="4344162" y="1857375"/>
            <a:ext cx="35053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2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">
  <p:cSld name="4 Colum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5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09" name="Google Shape;109;p25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5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25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25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25"/>
          <p:cNvSpPr txBox="1">
            <a:spLocks noGrp="1"/>
          </p:cNvSpPr>
          <p:nvPr>
            <p:ph type="body" idx="5"/>
          </p:nvPr>
        </p:nvSpPr>
        <p:spPr>
          <a:xfrm>
            <a:off x="3395664" y="2175803"/>
            <a:ext cx="2559476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25"/>
          <p:cNvSpPr txBox="1">
            <a:spLocks noGrp="1"/>
          </p:cNvSpPr>
          <p:nvPr>
            <p:ph type="body" idx="6"/>
          </p:nvPr>
        </p:nvSpPr>
        <p:spPr>
          <a:xfrm>
            <a:off x="3395664" y="1857375"/>
            <a:ext cx="2559476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25"/>
          <p:cNvSpPr txBox="1">
            <a:spLocks noGrp="1"/>
          </p:cNvSpPr>
          <p:nvPr>
            <p:ph type="body" idx="7"/>
          </p:nvPr>
        </p:nvSpPr>
        <p:spPr>
          <a:xfrm>
            <a:off x="9086263" y="2175803"/>
            <a:ext cx="25548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25"/>
          <p:cNvSpPr txBox="1">
            <a:spLocks noGrp="1"/>
          </p:cNvSpPr>
          <p:nvPr>
            <p:ph type="body" idx="8"/>
          </p:nvPr>
        </p:nvSpPr>
        <p:spPr>
          <a:xfrm>
            <a:off x="9086263" y="1857375"/>
            <a:ext cx="25548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25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Column">
  <p:cSld name="5 Column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2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21" name="Google Shape;121;p26"/>
          <p:cNvSpPr txBox="1">
            <a:spLocks noGrp="1"/>
          </p:cNvSpPr>
          <p:nvPr>
            <p:ph type="body" idx="1"/>
          </p:nvPr>
        </p:nvSpPr>
        <p:spPr>
          <a:xfrm>
            <a:off x="550864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26"/>
          <p:cNvSpPr txBox="1">
            <a:spLocks noGrp="1"/>
          </p:cNvSpPr>
          <p:nvPr>
            <p:ph type="body" idx="2"/>
          </p:nvPr>
        </p:nvSpPr>
        <p:spPr>
          <a:xfrm>
            <a:off x="550864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26"/>
          <p:cNvSpPr txBox="1">
            <a:spLocks noGrp="1"/>
          </p:cNvSpPr>
          <p:nvPr>
            <p:ph type="body" idx="3"/>
          </p:nvPr>
        </p:nvSpPr>
        <p:spPr>
          <a:xfrm>
            <a:off x="5104050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26"/>
          <p:cNvSpPr txBox="1">
            <a:spLocks noGrp="1"/>
          </p:cNvSpPr>
          <p:nvPr>
            <p:ph type="body" idx="4"/>
          </p:nvPr>
        </p:nvSpPr>
        <p:spPr>
          <a:xfrm>
            <a:off x="5104050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26"/>
          <p:cNvSpPr txBox="1">
            <a:spLocks noGrp="1"/>
          </p:cNvSpPr>
          <p:nvPr>
            <p:ph type="body" idx="5"/>
          </p:nvPr>
        </p:nvSpPr>
        <p:spPr>
          <a:xfrm>
            <a:off x="2827457" y="2175803"/>
            <a:ext cx="1983600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26"/>
          <p:cNvSpPr txBox="1">
            <a:spLocks noGrp="1"/>
          </p:cNvSpPr>
          <p:nvPr>
            <p:ph type="body" idx="6"/>
          </p:nvPr>
        </p:nvSpPr>
        <p:spPr>
          <a:xfrm>
            <a:off x="2827457" y="1857375"/>
            <a:ext cx="1983600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26"/>
          <p:cNvSpPr txBox="1">
            <a:spLocks noGrp="1"/>
          </p:cNvSpPr>
          <p:nvPr>
            <p:ph type="body" idx="7"/>
          </p:nvPr>
        </p:nvSpPr>
        <p:spPr>
          <a:xfrm>
            <a:off x="7380643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26"/>
          <p:cNvSpPr txBox="1">
            <a:spLocks noGrp="1"/>
          </p:cNvSpPr>
          <p:nvPr>
            <p:ph type="body" idx="8"/>
          </p:nvPr>
        </p:nvSpPr>
        <p:spPr>
          <a:xfrm>
            <a:off x="7380643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26"/>
          <p:cNvSpPr txBox="1">
            <a:spLocks noGrp="1"/>
          </p:cNvSpPr>
          <p:nvPr>
            <p:ph type="body" idx="9"/>
          </p:nvPr>
        </p:nvSpPr>
        <p:spPr>
          <a:xfrm>
            <a:off x="9660801" y="2175803"/>
            <a:ext cx="1980034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26"/>
          <p:cNvSpPr txBox="1">
            <a:spLocks noGrp="1"/>
          </p:cNvSpPr>
          <p:nvPr>
            <p:ph type="body" idx="13"/>
          </p:nvPr>
        </p:nvSpPr>
        <p:spPr>
          <a:xfrm>
            <a:off x="9660801" y="1857375"/>
            <a:ext cx="1980034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26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Grey on Left">
  <p:cSld name="1/3 Grey on Lef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7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" name="Google Shape;134;p27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2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36" name="Google Shape;136;p27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27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">
  <p:cSld name="1/3 Blue on Left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28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" name="Google Shape;140;p28"/>
          <p:cNvSpPr txBox="1">
            <a:spLocks noGrp="1"/>
          </p:cNvSpPr>
          <p:nvPr>
            <p:ph type="title"/>
          </p:nvPr>
        </p:nvSpPr>
        <p:spPr>
          <a:xfrm>
            <a:off x="549232" y="562841"/>
            <a:ext cx="30771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2" name="Google Shape;142;p28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" name="Google Shape;143;p28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Left">
  <p:cSld name="1/2 Blue on Lef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29"/>
          <p:cNvSpPr/>
          <p:nvPr/>
        </p:nvSpPr>
        <p:spPr>
          <a:xfrm>
            <a:off x="0" y="-1"/>
            <a:ext cx="6098537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" name="Google Shape;146;p29"/>
          <p:cNvSpPr txBox="1">
            <a:spLocks noGrp="1"/>
          </p:cNvSpPr>
          <p:nvPr>
            <p:ph type="title"/>
          </p:nvPr>
        </p:nvSpPr>
        <p:spPr>
          <a:xfrm>
            <a:off x="549232" y="562840"/>
            <a:ext cx="5074328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2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48" name="Google Shape;148;p29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29"/>
          <p:cNvSpPr txBox="1">
            <a:spLocks noGrp="1"/>
          </p:cNvSpPr>
          <p:nvPr>
            <p:ph type="ftr" idx="11"/>
          </p:nvPr>
        </p:nvSpPr>
        <p:spPr>
          <a:xfrm>
            <a:off x="549232" y="6465614"/>
            <a:ext cx="507432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 BG (with Title)">
  <p:cSld name="Gradient BG (with Title)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" name="Google Shape;152;p3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53" name="Google Shape;153;p30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4" name="Google Shape;154;p30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55" name="Google Shape;155;p30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30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30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30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30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30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30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30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30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30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165;p30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166;p30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167;p30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" name="Google Shape;168;p30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170" name="Google Shape;170;p30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Right">
  <p:cSld name="1/3 Blue on Right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31"/>
          <p:cNvSpPr/>
          <p:nvPr/>
        </p:nvSpPr>
        <p:spPr>
          <a:xfrm>
            <a:off x="8134763" y="-1"/>
            <a:ext cx="4059776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" name="Google Shape;173;p31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7261122" cy="418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31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75" name="Google Shape;175;p31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6" name="Google Shape;176;p31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77" name="Google Shape;177;p31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31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Google Shape;179;p31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31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31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182;p31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31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Google Shape;184;p31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31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31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31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Google Shape;188;p31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9" name="Google Shape;189;p31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0" name="Google Shape;190;p31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191;p31"/>
          <p:cNvSpPr txBox="1">
            <a:spLocks noGrp="1"/>
          </p:cNvSpPr>
          <p:nvPr>
            <p:ph type="ftr" idx="11"/>
          </p:nvPr>
        </p:nvSpPr>
        <p:spPr>
          <a:xfrm>
            <a:off x="550862" y="6465614"/>
            <a:ext cx="72764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Blue on Right">
  <p:cSld name="1/2 Blue on Right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32"/>
          <p:cNvSpPr/>
          <p:nvPr/>
        </p:nvSpPr>
        <p:spPr>
          <a:xfrm>
            <a:off x="6096000" y="-1"/>
            <a:ext cx="6098539" cy="6858001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" name="Google Shape;194;p32"/>
          <p:cNvSpPr txBox="1">
            <a:spLocks noGrp="1"/>
          </p:cNvSpPr>
          <p:nvPr>
            <p:ph type="title"/>
          </p:nvPr>
        </p:nvSpPr>
        <p:spPr>
          <a:xfrm>
            <a:off x="566142" y="562841"/>
            <a:ext cx="5205071" cy="83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32"/>
          <p:cNvSpPr txBox="1">
            <a:spLocks noGrp="1"/>
          </p:cNvSpPr>
          <p:nvPr>
            <p:ph type="sldNum" idx="12"/>
          </p:nvPr>
        </p:nvSpPr>
        <p:spPr>
          <a:xfrm>
            <a:off x="11490453" y="6445294"/>
            <a:ext cx="150683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196" name="Google Shape;196;p32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97" name="Google Shape;197;p32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98" name="Google Shape;198;p32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32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Google Shape;200;p32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32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32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3" name="Google Shape;203;p32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4" name="Google Shape;204;p32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5" name="Google Shape;205;p32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" name="Google Shape;206;p32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7" name="Google Shape;207;p32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" name="Google Shape;208;p32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09;p32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32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32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3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22035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1">
  <p:cSld name="Breaker Slide_1">
    <p:bg>
      <p:bgPr>
        <a:solidFill>
          <a:schemeClr val="lt2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" name="Google Shape;214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33"/>
          <p:cNvSpPr/>
          <p:nvPr/>
        </p:nvSpPr>
        <p:spPr>
          <a:xfrm>
            <a:off x="0" y="0"/>
            <a:ext cx="2682587" cy="6858000"/>
          </a:xfrm>
          <a:prstGeom prst="rect">
            <a:avLst/>
          </a:prstGeom>
          <a:solidFill>
            <a:schemeClr val="lt2">
              <a:alpha val="6196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33"/>
          <p:cNvSpPr/>
          <p:nvPr/>
        </p:nvSpPr>
        <p:spPr>
          <a:xfrm>
            <a:off x="0" y="3700463"/>
            <a:ext cx="9412014" cy="2414587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>
                  <a:alpha val="81960"/>
                </a:srgbClr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p33"/>
          <p:cNvSpPr txBox="1">
            <a:spLocks noGrp="1"/>
          </p:cNvSpPr>
          <p:nvPr>
            <p:ph type="title"/>
          </p:nvPr>
        </p:nvSpPr>
        <p:spPr>
          <a:xfrm>
            <a:off x="737591" y="4108436"/>
            <a:ext cx="8494899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8" name="Google Shape;218;p33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19" name="Google Shape;219;p33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Google Shape;220;p33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Google Shape;221;p33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Google Shape;222;p33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Google Shape;223;p33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Google Shape;224;p33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Google Shape;225;p33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33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Google Shape;227;p33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Google Shape;228;p33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Google Shape;229;p33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33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33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2" name="Google Shape;232;p33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3" name="Google Shape;233;p3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3 Blue on Left_2">
  <p:cSld name="1/3 Blue on Left_2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6"/>
          <p:cNvSpPr/>
          <p:nvPr/>
        </p:nvSpPr>
        <p:spPr>
          <a:xfrm>
            <a:off x="0" y="-1"/>
            <a:ext cx="4059776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16"/>
          <p:cNvSpPr txBox="1">
            <a:spLocks noGrp="1"/>
          </p:cNvSpPr>
          <p:nvPr>
            <p:ph type="title"/>
          </p:nvPr>
        </p:nvSpPr>
        <p:spPr>
          <a:xfrm>
            <a:off x="566141" y="2546064"/>
            <a:ext cx="3032465" cy="1765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  <a:defRPr sz="45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1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42" name="Google Shape;42;p16"/>
          <p:cNvSpPr txBox="1">
            <a:spLocks noGrp="1"/>
          </p:cNvSpPr>
          <p:nvPr>
            <p:ph type="ftr" idx="11"/>
          </p:nvPr>
        </p:nvSpPr>
        <p:spPr>
          <a:xfrm>
            <a:off x="436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reaker Slide_2">
  <p:cSld name="Breaker Slide_2">
    <p:bg>
      <p:bgPr>
        <a:solidFill>
          <a:schemeClr val="lt2"/>
        </a:solidFill>
        <a:effectLst/>
      </p:bgPr>
    </p:bg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" name="Google Shape;235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6" name="Google Shape;236;p3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55000">
                <a:srgbClr val="0934B6">
                  <a:alpha val="81960"/>
                </a:srgbClr>
              </a:gs>
              <a:gs pos="85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Google Shape;237;p34"/>
          <p:cNvSpPr txBox="1">
            <a:spLocks noGrp="1"/>
          </p:cNvSpPr>
          <p:nvPr>
            <p:ph type="title"/>
          </p:nvPr>
        </p:nvSpPr>
        <p:spPr>
          <a:xfrm>
            <a:off x="992390" y="4026897"/>
            <a:ext cx="6785798" cy="1569660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21960"/>
              </a:srgbClr>
            </a:outerShdw>
          </a:effectLst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ranklin Gothic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8" name="Google Shape;238;p3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239" name="Google Shape;239;p3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Google Shape;240;p3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3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3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Google Shape;243;p3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3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3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3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Google Shape;247;p3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Google Shape;248;p3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Google Shape;249;p3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0" name="Google Shape;250;p3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51;p3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2" name="Google Shape;252;p3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3" name="Google Shape;253;p3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cxnSp>
        <p:nvCxnSpPr>
          <p:cNvPr id="254" name="Google Shape;254;p34"/>
          <p:cNvCxnSpPr/>
          <p:nvPr/>
        </p:nvCxnSpPr>
        <p:spPr>
          <a:xfrm>
            <a:off x="992389" y="5712304"/>
            <a:ext cx="1542466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uides">
  <p:cSld name="Guides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35"/>
          <p:cNvSpPr/>
          <p:nvPr/>
        </p:nvSpPr>
        <p:spPr>
          <a:xfrm>
            <a:off x="0" y="0"/>
            <a:ext cx="12193200" cy="6858000"/>
          </a:xfrm>
          <a:custGeom>
            <a:avLst/>
            <a:gdLst/>
            <a:ahLst/>
            <a:cxnLst/>
            <a:rect l="l" t="t" r="r" b="b"/>
            <a:pathLst>
              <a:path w="12193200" h="6858000" extrusionOk="0">
                <a:moveTo>
                  <a:pt x="566584" y="549276"/>
                </a:moveTo>
                <a:lnTo>
                  <a:pt x="566584" y="6308726"/>
                </a:lnTo>
                <a:lnTo>
                  <a:pt x="11641138" y="6308726"/>
                </a:lnTo>
                <a:lnTo>
                  <a:pt x="11641138" y="549276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22800"/>
                </a:lnTo>
                <a:lnTo>
                  <a:pt x="12192000" y="622800"/>
                </a:lnTo>
                <a:lnTo>
                  <a:pt x="12192000" y="6160597"/>
                </a:lnTo>
                <a:lnTo>
                  <a:pt x="12193200" y="6160597"/>
                </a:lnTo>
                <a:lnTo>
                  <a:pt x="12193200" y="6858000"/>
                </a:lnTo>
                <a:lnTo>
                  <a:pt x="12192000" y="6858000"/>
                </a:lnTo>
                <a:lnTo>
                  <a:pt x="11562000" y="6858000"/>
                </a:lnTo>
                <a:lnTo>
                  <a:pt x="630001" y="6858000"/>
                </a:lnTo>
                <a:lnTo>
                  <a:pt x="1" y="6858000"/>
                </a:lnTo>
                <a:lnTo>
                  <a:pt x="1" y="6160597"/>
                </a:lnTo>
                <a:lnTo>
                  <a:pt x="1" y="622800"/>
                </a:lnTo>
                <a:lnTo>
                  <a:pt x="0" y="622800"/>
                </a:lnTo>
                <a:close/>
              </a:path>
            </a:pathLst>
          </a:cu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57" name="Google Shape;257;p35"/>
          <p:cNvGrpSpPr/>
          <p:nvPr/>
        </p:nvGrpSpPr>
        <p:grpSpPr>
          <a:xfrm>
            <a:off x="-600" y="549275"/>
            <a:ext cx="12193201" cy="5759450"/>
            <a:chOff x="-600" y="549275"/>
            <a:chExt cx="12193201" cy="5759450"/>
          </a:xfrm>
        </p:grpSpPr>
        <p:cxnSp>
          <p:nvCxnSpPr>
            <p:cNvPr id="258" name="Google Shape;258;p35"/>
            <p:cNvCxnSpPr/>
            <p:nvPr/>
          </p:nvCxnSpPr>
          <p:spPr>
            <a:xfrm>
              <a:off x="-600" y="54927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59" name="Google Shape;259;p35"/>
            <p:cNvCxnSpPr/>
            <p:nvPr/>
          </p:nvCxnSpPr>
          <p:spPr>
            <a:xfrm>
              <a:off x="-600" y="107286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0" name="Google Shape;260;p35"/>
            <p:cNvCxnSpPr/>
            <p:nvPr/>
          </p:nvCxnSpPr>
          <p:spPr>
            <a:xfrm>
              <a:off x="-600" y="133465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1" name="Google Shape;261;p35"/>
            <p:cNvCxnSpPr/>
            <p:nvPr/>
          </p:nvCxnSpPr>
          <p:spPr>
            <a:xfrm>
              <a:off x="-600" y="159644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2" name="Google Shape;262;p35"/>
            <p:cNvCxnSpPr/>
            <p:nvPr/>
          </p:nvCxnSpPr>
          <p:spPr>
            <a:xfrm>
              <a:off x="-600" y="185824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3" name="Google Shape;263;p35"/>
            <p:cNvCxnSpPr/>
            <p:nvPr/>
          </p:nvCxnSpPr>
          <p:spPr>
            <a:xfrm>
              <a:off x="-600" y="212003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4" name="Google Shape;264;p35"/>
            <p:cNvCxnSpPr/>
            <p:nvPr/>
          </p:nvCxnSpPr>
          <p:spPr>
            <a:xfrm>
              <a:off x="-600" y="238182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5" name="Google Shape;265;p35"/>
            <p:cNvCxnSpPr/>
            <p:nvPr/>
          </p:nvCxnSpPr>
          <p:spPr>
            <a:xfrm>
              <a:off x="-600" y="264361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6" name="Google Shape;266;p35"/>
            <p:cNvCxnSpPr/>
            <p:nvPr/>
          </p:nvCxnSpPr>
          <p:spPr>
            <a:xfrm>
              <a:off x="-600" y="290541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7" name="Google Shape;267;p35"/>
            <p:cNvCxnSpPr/>
            <p:nvPr/>
          </p:nvCxnSpPr>
          <p:spPr>
            <a:xfrm>
              <a:off x="-600" y="316720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8" name="Google Shape;268;p35"/>
            <p:cNvCxnSpPr/>
            <p:nvPr/>
          </p:nvCxnSpPr>
          <p:spPr>
            <a:xfrm>
              <a:off x="-600" y="342899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69" name="Google Shape;269;p35"/>
            <p:cNvCxnSpPr/>
            <p:nvPr/>
          </p:nvCxnSpPr>
          <p:spPr>
            <a:xfrm>
              <a:off x="-600" y="3690791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0" name="Google Shape;270;p35"/>
            <p:cNvCxnSpPr/>
            <p:nvPr/>
          </p:nvCxnSpPr>
          <p:spPr>
            <a:xfrm>
              <a:off x="-600" y="3952584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1" name="Google Shape;271;p35"/>
            <p:cNvCxnSpPr/>
            <p:nvPr/>
          </p:nvCxnSpPr>
          <p:spPr>
            <a:xfrm>
              <a:off x="-600" y="4214377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2" name="Google Shape;272;p35"/>
            <p:cNvCxnSpPr/>
            <p:nvPr/>
          </p:nvCxnSpPr>
          <p:spPr>
            <a:xfrm>
              <a:off x="-600" y="4476170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3" name="Google Shape;273;p35"/>
            <p:cNvCxnSpPr/>
            <p:nvPr/>
          </p:nvCxnSpPr>
          <p:spPr>
            <a:xfrm>
              <a:off x="-600" y="4737963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4" name="Google Shape;274;p35"/>
            <p:cNvCxnSpPr/>
            <p:nvPr/>
          </p:nvCxnSpPr>
          <p:spPr>
            <a:xfrm>
              <a:off x="-600" y="4999756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5" name="Google Shape;275;p35"/>
            <p:cNvCxnSpPr/>
            <p:nvPr/>
          </p:nvCxnSpPr>
          <p:spPr>
            <a:xfrm>
              <a:off x="-600" y="5261549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6" name="Google Shape;276;p35"/>
            <p:cNvCxnSpPr/>
            <p:nvPr/>
          </p:nvCxnSpPr>
          <p:spPr>
            <a:xfrm>
              <a:off x="-600" y="5523342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7" name="Google Shape;277;p35"/>
            <p:cNvCxnSpPr/>
            <p:nvPr/>
          </p:nvCxnSpPr>
          <p:spPr>
            <a:xfrm>
              <a:off x="-600" y="578513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8" name="Google Shape;278;p35"/>
            <p:cNvCxnSpPr/>
            <p:nvPr/>
          </p:nvCxnSpPr>
          <p:spPr>
            <a:xfrm>
              <a:off x="-600" y="81106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79" name="Google Shape;279;p35"/>
            <p:cNvCxnSpPr/>
            <p:nvPr/>
          </p:nvCxnSpPr>
          <p:spPr>
            <a:xfrm>
              <a:off x="-600" y="6308725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280" name="Google Shape;280;p35"/>
            <p:cNvCxnSpPr/>
            <p:nvPr/>
          </p:nvCxnSpPr>
          <p:spPr>
            <a:xfrm>
              <a:off x="-600" y="6046928"/>
              <a:ext cx="12193201" cy="0"/>
            </a:xfrm>
            <a:prstGeom prst="straightConnector1">
              <a:avLst/>
            </a:prstGeom>
            <a:noFill/>
            <a:ln w="9525" cap="flat" cmpd="sng">
              <a:solidFill>
                <a:schemeClr val="dk2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81" name="Google Shape;281;p35"/>
          <p:cNvSpPr/>
          <p:nvPr/>
        </p:nvSpPr>
        <p:spPr>
          <a:xfrm>
            <a:off x="550263" y="6308721"/>
            <a:ext cx="11090873" cy="261799"/>
          </a:xfrm>
          <a:prstGeom prst="rect">
            <a:avLst/>
          </a:prstGeom>
          <a:solidFill>
            <a:srgbClr val="FF0000">
              <a:alpha val="196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35"/>
          <p:cNvSpPr/>
          <p:nvPr/>
        </p:nvSpPr>
        <p:spPr>
          <a:xfrm>
            <a:off x="550864" y="1348221"/>
            <a:ext cx="11105556" cy="509202"/>
          </a:xfrm>
          <a:prstGeom prst="rect">
            <a:avLst/>
          </a:prstGeom>
          <a:solidFill>
            <a:srgbClr val="FF0000">
              <a:alpha val="0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35"/>
          <p:cNvSpPr/>
          <p:nvPr/>
        </p:nvSpPr>
        <p:spPr>
          <a:xfrm>
            <a:off x="550863" y="2120033"/>
            <a:ext cx="11090275" cy="4188692"/>
          </a:xfrm>
          <a:custGeom>
            <a:avLst/>
            <a:gdLst/>
            <a:ahLst/>
            <a:cxnLst/>
            <a:rect l="l" t="t" r="r" b="b"/>
            <a:pathLst>
              <a:path w="10931999" h="5537797" extrusionOk="0">
                <a:moveTo>
                  <a:pt x="0" y="0"/>
                </a:moveTo>
                <a:lnTo>
                  <a:pt x="10931999" y="0"/>
                </a:lnTo>
                <a:lnTo>
                  <a:pt x="10931999" y="5537797"/>
                </a:lnTo>
                <a:lnTo>
                  <a:pt x="0" y="5537797"/>
                </a:lnTo>
                <a:close/>
              </a:path>
            </a:pathLst>
          </a:custGeom>
          <a:noFill/>
          <a:ln w="9525" cap="flat" cmpd="sng">
            <a:solidFill>
              <a:schemeClr val="dk2">
                <a:alpha val="27058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4" name="Google Shape;284;p35"/>
          <p:cNvGrpSpPr/>
          <p:nvPr/>
        </p:nvGrpSpPr>
        <p:grpSpPr>
          <a:xfrm>
            <a:off x="1215339" y="1857423"/>
            <a:ext cx="9763000" cy="4458091"/>
            <a:chOff x="1215339" y="549274"/>
            <a:chExt cx="9763000" cy="5759450"/>
          </a:xfrm>
        </p:grpSpPr>
        <p:sp>
          <p:nvSpPr>
            <p:cNvPr id="285" name="Google Shape;285;p35"/>
            <p:cNvSpPr/>
            <p:nvPr/>
          </p:nvSpPr>
          <p:spPr>
            <a:xfrm>
              <a:off x="690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35"/>
            <p:cNvSpPr/>
            <p:nvPr/>
          </p:nvSpPr>
          <p:spPr>
            <a:xfrm>
              <a:off x="879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7" name="Google Shape;287;p35"/>
            <p:cNvSpPr/>
            <p:nvPr/>
          </p:nvSpPr>
          <p:spPr>
            <a:xfrm>
              <a:off x="784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8" name="Google Shape;288;p35"/>
            <p:cNvSpPr/>
            <p:nvPr/>
          </p:nvSpPr>
          <p:spPr>
            <a:xfrm>
              <a:off x="974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9" name="Google Shape;289;p35"/>
            <p:cNvSpPr/>
            <p:nvPr/>
          </p:nvSpPr>
          <p:spPr>
            <a:xfrm>
              <a:off x="1069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0" name="Google Shape;290;p35"/>
            <p:cNvSpPr/>
            <p:nvPr/>
          </p:nvSpPr>
          <p:spPr>
            <a:xfrm>
              <a:off x="5952839" y="549274"/>
              <a:ext cx="288000" cy="5759450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35"/>
            <p:cNvSpPr/>
            <p:nvPr/>
          </p:nvSpPr>
          <p:spPr>
            <a:xfrm>
              <a:off x="121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2" name="Google Shape;292;p35"/>
            <p:cNvSpPr/>
            <p:nvPr/>
          </p:nvSpPr>
          <p:spPr>
            <a:xfrm>
              <a:off x="2162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" name="Google Shape;293;p35"/>
            <p:cNvSpPr/>
            <p:nvPr/>
          </p:nvSpPr>
          <p:spPr>
            <a:xfrm>
              <a:off x="3110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Google Shape;294;p35"/>
            <p:cNvSpPr/>
            <p:nvPr/>
          </p:nvSpPr>
          <p:spPr>
            <a:xfrm>
              <a:off x="40578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Google Shape;295;p35"/>
            <p:cNvSpPr/>
            <p:nvPr/>
          </p:nvSpPr>
          <p:spPr>
            <a:xfrm>
              <a:off x="5005339" y="549274"/>
              <a:ext cx="288000" cy="5759450"/>
            </a:xfrm>
            <a:prstGeom prst="rect">
              <a:avLst/>
            </a:prstGeom>
            <a:solidFill>
              <a:srgbClr val="9EB5FA">
                <a:alpha val="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6" name="Google Shape;296;p35"/>
          <p:cNvSpPr txBox="1"/>
          <p:nvPr/>
        </p:nvSpPr>
        <p:spPr>
          <a:xfrm>
            <a:off x="550862" y="6309543"/>
            <a:ext cx="9030915" cy="277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Footnotes/Not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Source: Include a source her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7" name="Google Shape;297;p35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8" name="Google Shape;298;p35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9" name="Google Shape;299;p35"/>
          <p:cNvGrpSpPr/>
          <p:nvPr/>
        </p:nvGrpSpPr>
        <p:grpSpPr>
          <a:xfrm>
            <a:off x="550864" y="6156603"/>
            <a:ext cx="11089971" cy="55199"/>
            <a:chOff x="550864" y="6156603"/>
            <a:chExt cx="11089971" cy="55199"/>
          </a:xfrm>
        </p:grpSpPr>
        <p:sp>
          <p:nvSpPr>
            <p:cNvPr id="300" name="Google Shape;300;p35"/>
            <p:cNvSpPr/>
            <p:nvPr/>
          </p:nvSpPr>
          <p:spPr>
            <a:xfrm>
              <a:off x="550864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Google Shape;301;p35"/>
            <p:cNvSpPr/>
            <p:nvPr/>
          </p:nvSpPr>
          <p:spPr>
            <a:xfrm>
              <a:off x="5104050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Google Shape;302;p35"/>
            <p:cNvSpPr/>
            <p:nvPr/>
          </p:nvSpPr>
          <p:spPr>
            <a:xfrm>
              <a:off x="7380643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p35"/>
            <p:cNvSpPr/>
            <p:nvPr/>
          </p:nvSpPr>
          <p:spPr>
            <a:xfrm>
              <a:off x="9657235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Google Shape;304;p35"/>
            <p:cNvSpPr/>
            <p:nvPr/>
          </p:nvSpPr>
          <p:spPr>
            <a:xfrm>
              <a:off x="2827457" y="6156603"/>
              <a:ext cx="1983600" cy="55199"/>
            </a:xfrm>
            <a:prstGeom prst="rect">
              <a:avLst/>
            </a:prstGeom>
            <a:solidFill>
              <a:srgbClr val="9EB5FA">
                <a:alpha val="2196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Full-width Page">
  <p:cSld name="7_Full-width Page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" name="Google Shape;306;p36" descr="A picture containing bed, man, white, ca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428"/>
            <a:ext cx="4057839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07" name="Google Shape;307;p36"/>
          <p:cNvSpPr/>
          <p:nvPr/>
        </p:nvSpPr>
        <p:spPr>
          <a:xfrm>
            <a:off x="0" y="1"/>
            <a:ext cx="4057838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p36"/>
          <p:cNvSpPr txBox="1">
            <a:spLocks noGrp="1"/>
          </p:cNvSpPr>
          <p:nvPr>
            <p:ph type="title"/>
          </p:nvPr>
        </p:nvSpPr>
        <p:spPr>
          <a:xfrm>
            <a:off x="533401" y="2514600"/>
            <a:ext cx="3124199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Franklin Gothic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3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lain White">
  <p:cSld name="Plain White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37"/>
          <p:cNvSpPr txBox="1"/>
          <p:nvPr/>
        </p:nvSpPr>
        <p:spPr>
          <a:xfrm>
            <a:off x="11260138" y="6416632"/>
            <a:ext cx="381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fld id="{00000000-1234-1234-1234-123412341234}" type="slidenum">
              <a:rPr lang="fr-FR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0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_Title with BG">
  <p:cSld name="WHITE_Title with BG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3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Without Title">
  <p:cSld name="Without Titl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grpSp>
        <p:nvGrpSpPr>
          <p:cNvPr id="45" name="Google Shape;45;p17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46" name="Google Shape;46;p17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17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17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49;p17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7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1;p17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;p17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3;p17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17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17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17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17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17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9" name="Google Shape;59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7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7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+Subtitle">
  <p:cSld name="Title+Subtitle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9"/>
          <p:cNvSpPr txBox="1">
            <a:spLocks noGrp="1"/>
          </p:cNvSpPr>
          <p:nvPr>
            <p:ph type="sldNum" idx="12"/>
          </p:nvPr>
        </p:nvSpPr>
        <p:spPr>
          <a:xfrm>
            <a:off x="11490153" y="6450225"/>
            <a:ext cx="150682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68" name="Google Shape;68;p1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19"/>
          <p:cNvSpPr txBox="1">
            <a:spLocks noGrp="1"/>
          </p:cNvSpPr>
          <p:nvPr>
            <p:ph type="body" idx="1"/>
          </p:nvPr>
        </p:nvSpPr>
        <p:spPr>
          <a:xfrm>
            <a:off x="550862" y="1028324"/>
            <a:ext cx="11089972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6D90F8"/>
              </a:buClr>
              <a:buSzPts val="2000"/>
              <a:buNone/>
              <a:defRPr sz="2000">
                <a:solidFill>
                  <a:srgbClr val="6D90F8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ast Page">
  <p:cSld name="Last Page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2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62379"/>
              </a:gs>
              <a:gs pos="16000">
                <a:srgbClr val="062379"/>
              </a:gs>
              <a:gs pos="45000">
                <a:srgbClr val="0934B6">
                  <a:alpha val="81960"/>
                </a:srgbClr>
              </a:gs>
              <a:gs pos="79000">
                <a:srgbClr val="036DFF">
                  <a:alpha val="80000"/>
                </a:srgbClr>
              </a:gs>
              <a:gs pos="100000">
                <a:srgbClr val="43E1D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p20"/>
          <p:cNvSpPr txBox="1"/>
          <p:nvPr/>
        </p:nvSpPr>
        <p:spPr>
          <a:xfrm>
            <a:off x="550863" y="5965461"/>
            <a:ext cx="302890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sng" strike="noStrike" cap="none">
                <a:solidFill>
                  <a:srgbClr val="43E1D3"/>
                </a:solidFill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fomineo.com</a:t>
            </a:r>
            <a:endParaRPr sz="1200" b="1" i="0" u="none" strike="noStrike" cap="none">
              <a:solidFill>
                <a:srgbClr val="43E1D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nfomineo 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" name="Google Shape;73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56669" y="3006053"/>
            <a:ext cx="3678662" cy="84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74;p20">
            <a:hlinkClick r:id="rId4"/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323329" y="5965461"/>
            <a:ext cx="370332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20">
            <a:hlinkClick r:id="rId6"/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25964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20">
            <a:hlinkClick r:id="rId8"/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28599" y="5965461"/>
            <a:ext cx="368808" cy="3703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(Option 2)">
  <p:cSld name="Title Slide (Option 2)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78;p21"/>
          <p:cNvPicPr preferRelativeResize="0"/>
          <p:nvPr/>
        </p:nvPicPr>
        <p:blipFill rotWithShape="1">
          <a:blip r:embed="rId2">
            <a:alphaModFix/>
          </a:blip>
          <a:srcRect t="13558" r="6942" b="13557"/>
          <a:stretch/>
        </p:blipFill>
        <p:spPr>
          <a:xfrm>
            <a:off x="269999" y="270000"/>
            <a:ext cx="11652000" cy="6317999"/>
          </a:xfrm>
          <a:prstGeom prst="rect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79" name="Google Shape;79;p21"/>
          <p:cNvSpPr/>
          <p:nvPr/>
        </p:nvSpPr>
        <p:spPr>
          <a:xfrm>
            <a:off x="536448" y="540000"/>
            <a:ext cx="6363891" cy="6318000"/>
          </a:xfrm>
          <a:prstGeom prst="rect">
            <a:avLst/>
          </a:prstGeom>
          <a:gradFill>
            <a:gsLst>
              <a:gs pos="0">
                <a:srgbClr val="062379"/>
              </a:gs>
              <a:gs pos="26000">
                <a:srgbClr val="0934B6">
                  <a:alpha val="81960"/>
                </a:srgbClr>
              </a:gs>
              <a:gs pos="64000">
                <a:srgbClr val="036DFF">
                  <a:alpha val="80000"/>
                </a:srgbClr>
              </a:gs>
              <a:gs pos="100000">
                <a:srgbClr val="43E1D3">
                  <a:alpha val="81960"/>
                </a:srgbClr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80;p21"/>
          <p:cNvSpPr txBox="1">
            <a:spLocks noGrp="1"/>
          </p:cNvSpPr>
          <p:nvPr>
            <p:ph type="ctrTitle"/>
          </p:nvPr>
        </p:nvSpPr>
        <p:spPr>
          <a:xfrm>
            <a:off x="902896" y="3066686"/>
            <a:ext cx="5337943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000"/>
              <a:buFont typeface="Franklin Gothic"/>
              <a:buNone/>
              <a:defRPr sz="5000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1"/>
          <p:cNvSpPr txBox="1">
            <a:spLocks noGrp="1"/>
          </p:cNvSpPr>
          <p:nvPr>
            <p:ph type="subTitle" idx="1"/>
          </p:nvPr>
        </p:nvSpPr>
        <p:spPr>
          <a:xfrm>
            <a:off x="902896" y="4348579"/>
            <a:ext cx="5337943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lvl="1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lvl="2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lvl="3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lvl="4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21"/>
          <p:cNvSpPr txBox="1">
            <a:spLocks noGrp="1"/>
          </p:cNvSpPr>
          <p:nvPr>
            <p:ph type="dt" idx="10"/>
          </p:nvPr>
        </p:nvSpPr>
        <p:spPr>
          <a:xfrm>
            <a:off x="902896" y="5923689"/>
            <a:ext cx="1599925" cy="193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83" name="Google Shape;83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02896" y="901732"/>
            <a:ext cx="2497452" cy="574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with background)">
  <p:cSld name="Title only (with background)">
    <p:bg>
      <p:bgPr>
        <a:solidFill>
          <a:schemeClr val="lt2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87" name="Google Shape;87;p22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3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2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91" name="Google Shape;91;p23"/>
          <p:cNvSpPr txBox="1">
            <a:spLocks noGrp="1"/>
          </p:cNvSpPr>
          <p:nvPr>
            <p:ph type="body" idx="1"/>
          </p:nvPr>
        </p:nvSpPr>
        <p:spPr>
          <a:xfrm>
            <a:off x="550863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body" idx="2"/>
          </p:nvPr>
        </p:nvSpPr>
        <p:spPr>
          <a:xfrm>
            <a:off x="550863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23"/>
          <p:cNvSpPr txBox="1">
            <a:spLocks noGrp="1"/>
          </p:cNvSpPr>
          <p:nvPr>
            <p:ph type="body" idx="3"/>
          </p:nvPr>
        </p:nvSpPr>
        <p:spPr>
          <a:xfrm>
            <a:off x="6240464" y="2175803"/>
            <a:ext cx="5400675" cy="1151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861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0861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260"/>
              <a:buChar char="▪"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400"/>
              <a:buChar char="−"/>
              <a:defRPr sz="1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23"/>
          <p:cNvSpPr txBox="1">
            <a:spLocks noGrp="1"/>
          </p:cNvSpPr>
          <p:nvPr>
            <p:ph type="body" idx="4"/>
          </p:nvPr>
        </p:nvSpPr>
        <p:spPr>
          <a:xfrm>
            <a:off x="6240464" y="1857375"/>
            <a:ext cx="5400675" cy="263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1469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20"/>
              <a:buChar char="▪"/>
              <a:defRPr/>
            </a:lvl2pPr>
            <a:lvl3pPr marL="1371600" lvl="2" indent="-342900" algn="l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ts val="1800"/>
              <a:buChar char="−"/>
              <a:defRPr/>
            </a:lvl3pPr>
            <a:lvl4pPr marL="1828800" lvl="3" indent="-331469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620"/>
              <a:buChar char="▪"/>
              <a:defRPr/>
            </a:lvl4pPr>
            <a:lvl5pPr marL="2286000" lvl="4" indent="-342900" algn="l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417D7E-076D-E41E-A9A1-609B2987E0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3754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25" imgH="424" progId="TCLayout.ActiveDocument.1">
                  <p:embed/>
                </p:oleObj>
              </mc:Choice>
              <mc:Fallback>
                <p:oleObj name="think-cell Slide" r:id="rId27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p14"/>
          <p:cNvGrpSpPr/>
          <p:nvPr/>
        </p:nvGrpSpPr>
        <p:grpSpPr>
          <a:xfrm>
            <a:off x="11998459" y="6162188"/>
            <a:ext cx="68500" cy="441925"/>
            <a:chOff x="11998459" y="6162188"/>
            <a:chExt cx="68500" cy="441925"/>
          </a:xfrm>
        </p:grpSpPr>
        <p:sp>
          <p:nvSpPr>
            <p:cNvPr id="11" name="Google Shape;11;p14"/>
            <p:cNvSpPr/>
            <p:nvPr/>
          </p:nvSpPr>
          <p:spPr>
            <a:xfrm rot="-5400000">
              <a:off x="12063068" y="6476346"/>
              <a:ext cx="17" cy="1717"/>
            </a:xfrm>
            <a:custGeom>
              <a:avLst/>
              <a:gdLst/>
              <a:ahLst/>
              <a:cxnLst/>
              <a:rect l="l" t="t" r="r" b="b"/>
              <a:pathLst>
                <a:path w="17" h="1717" extrusionOk="0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14"/>
            <p:cNvSpPr/>
            <p:nvPr/>
          </p:nvSpPr>
          <p:spPr>
            <a:xfrm rot="-5400000">
              <a:off x="12023737" y="6455896"/>
              <a:ext cx="453" cy="271"/>
            </a:xfrm>
            <a:custGeom>
              <a:avLst/>
              <a:gdLst/>
              <a:ahLst/>
              <a:cxnLst/>
              <a:rect l="l" t="t" r="r" b="b"/>
              <a:pathLst>
                <a:path w="453" h="271" extrusionOk="0">
                  <a:moveTo>
                    <a:pt x="0" y="0"/>
                  </a:moveTo>
                  <a:cubicBezTo>
                    <a:pt x="258" y="172"/>
                    <a:pt x="498" y="344"/>
                    <a:pt x="447" y="24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13;p14"/>
            <p:cNvSpPr/>
            <p:nvPr/>
          </p:nvSpPr>
          <p:spPr>
            <a:xfrm rot="-5400000">
              <a:off x="12023907" y="6477766"/>
              <a:ext cx="15" cy="76"/>
            </a:xfrm>
            <a:custGeom>
              <a:avLst/>
              <a:gdLst/>
              <a:ahLst/>
              <a:cxnLst/>
              <a:rect l="l" t="t" r="r" b="b"/>
              <a:pathLst>
                <a:path w="15" h="76" extrusionOk="0">
                  <a:moveTo>
                    <a:pt x="15" y="38"/>
                  </a:moveTo>
                  <a:cubicBezTo>
                    <a:pt x="15" y="38"/>
                    <a:pt x="15" y="-48"/>
                    <a:pt x="15" y="38"/>
                  </a:cubicBezTo>
                  <a:cubicBezTo>
                    <a:pt x="15" y="124"/>
                    <a:pt x="-19" y="38"/>
                    <a:pt x="15" y="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4;p14"/>
            <p:cNvSpPr/>
            <p:nvPr/>
          </p:nvSpPr>
          <p:spPr>
            <a:xfrm rot="-5400000">
              <a:off x="12021636" y="6473651"/>
              <a:ext cx="261" cy="103"/>
            </a:xfrm>
            <a:custGeom>
              <a:avLst/>
              <a:gdLst/>
              <a:ahLst/>
              <a:cxnLst/>
              <a:rect l="l" t="t" r="r" b="b"/>
              <a:pathLst>
                <a:path w="261" h="103" extrusionOk="0">
                  <a:moveTo>
                    <a:pt x="262" y="0"/>
                  </a:moveTo>
                  <a:lnTo>
                    <a:pt x="56" y="103"/>
                  </a:lnTo>
                  <a:cubicBezTo>
                    <a:pt x="176" y="103"/>
                    <a:pt x="-116" y="103"/>
                    <a:pt x="56" y="103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5;p14"/>
            <p:cNvSpPr/>
            <p:nvPr/>
          </p:nvSpPr>
          <p:spPr>
            <a:xfrm rot="-5400000">
              <a:off x="12015635" y="6442208"/>
              <a:ext cx="51323" cy="51323"/>
            </a:xfrm>
            <a:custGeom>
              <a:avLst/>
              <a:gdLst/>
              <a:ahLst/>
              <a:cxnLst/>
              <a:rect l="l" t="t" r="r" b="b"/>
              <a:pathLst>
                <a:path w="51323" h="51323" extrusionOk="0">
                  <a:moveTo>
                    <a:pt x="25662" y="0"/>
                  </a:moveTo>
                  <a:cubicBezTo>
                    <a:pt x="11489" y="0"/>
                    <a:pt x="0" y="11489"/>
                    <a:pt x="0" y="25662"/>
                  </a:cubicBezTo>
                  <a:cubicBezTo>
                    <a:pt x="0" y="39834"/>
                    <a:pt x="11489" y="51323"/>
                    <a:pt x="25662" y="51323"/>
                  </a:cubicBezTo>
                  <a:cubicBezTo>
                    <a:pt x="39835" y="51323"/>
                    <a:pt x="51324" y="39834"/>
                    <a:pt x="51324" y="25662"/>
                  </a:cubicBezTo>
                  <a:cubicBezTo>
                    <a:pt x="51324" y="25645"/>
                    <a:pt x="51324" y="25627"/>
                    <a:pt x="51324" y="25610"/>
                  </a:cubicBezTo>
                  <a:cubicBezTo>
                    <a:pt x="51314" y="11457"/>
                    <a:pt x="39833" y="-9"/>
                    <a:pt x="25679" y="0"/>
                  </a:cubicBezTo>
                  <a:cubicBezTo>
                    <a:pt x="25673" y="0"/>
                    <a:pt x="25667" y="0"/>
                    <a:pt x="25662" y="0"/>
                  </a:cubicBezTo>
                  <a:close/>
                  <a:moveTo>
                    <a:pt x="26967" y="15648"/>
                  </a:moveTo>
                  <a:cubicBezTo>
                    <a:pt x="26864" y="15648"/>
                    <a:pt x="26967" y="15785"/>
                    <a:pt x="26967" y="15837"/>
                  </a:cubicBezTo>
                  <a:cubicBezTo>
                    <a:pt x="26894" y="15820"/>
                    <a:pt x="26817" y="15820"/>
                    <a:pt x="26744" y="15837"/>
                  </a:cubicBezTo>
                  <a:cubicBezTo>
                    <a:pt x="26899" y="15837"/>
                    <a:pt x="27139" y="16043"/>
                    <a:pt x="26933" y="16163"/>
                  </a:cubicBezTo>
                  <a:cubicBezTo>
                    <a:pt x="26727" y="16283"/>
                    <a:pt x="27019" y="16163"/>
                    <a:pt x="27036" y="16163"/>
                  </a:cubicBezTo>
                  <a:cubicBezTo>
                    <a:pt x="27173" y="15854"/>
                    <a:pt x="27586" y="16283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294" y="16489"/>
                    <a:pt x="27294" y="16489"/>
                  </a:cubicBezTo>
                  <a:lnTo>
                    <a:pt x="27294" y="16489"/>
                  </a:lnTo>
                  <a:cubicBezTo>
                    <a:pt x="27294" y="16489"/>
                    <a:pt x="27191" y="16489"/>
                    <a:pt x="27156" y="16489"/>
                  </a:cubicBezTo>
                  <a:cubicBezTo>
                    <a:pt x="27122" y="16489"/>
                    <a:pt x="27156" y="16489"/>
                    <a:pt x="27156" y="16593"/>
                  </a:cubicBezTo>
                  <a:cubicBezTo>
                    <a:pt x="27156" y="16696"/>
                    <a:pt x="27276" y="16593"/>
                    <a:pt x="27156" y="16593"/>
                  </a:cubicBezTo>
                  <a:cubicBezTo>
                    <a:pt x="27036" y="16593"/>
                    <a:pt x="27294" y="16593"/>
                    <a:pt x="27379" y="16593"/>
                  </a:cubicBezTo>
                  <a:cubicBezTo>
                    <a:pt x="27465" y="16593"/>
                    <a:pt x="27276" y="16713"/>
                    <a:pt x="27276" y="16799"/>
                  </a:cubicBezTo>
                  <a:cubicBezTo>
                    <a:pt x="27276" y="16885"/>
                    <a:pt x="26795" y="16936"/>
                    <a:pt x="26744" y="16799"/>
                  </a:cubicBezTo>
                  <a:cubicBezTo>
                    <a:pt x="26692" y="16661"/>
                    <a:pt x="26297" y="16799"/>
                    <a:pt x="26074" y="16902"/>
                  </a:cubicBezTo>
                  <a:cubicBezTo>
                    <a:pt x="25851" y="17005"/>
                    <a:pt x="26074" y="17125"/>
                    <a:pt x="25868" y="16988"/>
                  </a:cubicBezTo>
                  <a:cubicBezTo>
                    <a:pt x="25662" y="16850"/>
                    <a:pt x="25610" y="16988"/>
                    <a:pt x="25559" y="17142"/>
                  </a:cubicBezTo>
                  <a:cubicBezTo>
                    <a:pt x="25507" y="17297"/>
                    <a:pt x="25559" y="17142"/>
                    <a:pt x="25404" y="17142"/>
                  </a:cubicBezTo>
                  <a:cubicBezTo>
                    <a:pt x="25553" y="17029"/>
                    <a:pt x="25690" y="16902"/>
                    <a:pt x="25816" y="16764"/>
                  </a:cubicBezTo>
                  <a:cubicBezTo>
                    <a:pt x="25816" y="16593"/>
                    <a:pt x="26057" y="16764"/>
                    <a:pt x="26194" y="16764"/>
                  </a:cubicBezTo>
                  <a:cubicBezTo>
                    <a:pt x="26332" y="16764"/>
                    <a:pt x="26297" y="16610"/>
                    <a:pt x="26349" y="16541"/>
                  </a:cubicBezTo>
                  <a:cubicBezTo>
                    <a:pt x="26400" y="16472"/>
                    <a:pt x="26091" y="16764"/>
                    <a:pt x="26005" y="16627"/>
                  </a:cubicBezTo>
                  <a:cubicBezTo>
                    <a:pt x="25919" y="16489"/>
                    <a:pt x="25748" y="16627"/>
                    <a:pt x="25902" y="16627"/>
                  </a:cubicBezTo>
                  <a:cubicBezTo>
                    <a:pt x="26057" y="16627"/>
                    <a:pt x="25765" y="16627"/>
                    <a:pt x="25662" y="16627"/>
                  </a:cubicBezTo>
                  <a:lnTo>
                    <a:pt x="25662" y="16627"/>
                  </a:lnTo>
                  <a:cubicBezTo>
                    <a:pt x="25662" y="16627"/>
                    <a:pt x="25662" y="16627"/>
                    <a:pt x="25662" y="16627"/>
                  </a:cubicBezTo>
                  <a:cubicBezTo>
                    <a:pt x="25919" y="16541"/>
                    <a:pt x="26040" y="16472"/>
                    <a:pt x="26005" y="16215"/>
                  </a:cubicBezTo>
                  <a:lnTo>
                    <a:pt x="25834" y="16215"/>
                  </a:lnTo>
                  <a:cubicBezTo>
                    <a:pt x="25954" y="16094"/>
                    <a:pt x="26126" y="15940"/>
                    <a:pt x="26297" y="16060"/>
                  </a:cubicBezTo>
                  <a:cubicBezTo>
                    <a:pt x="26160" y="15888"/>
                    <a:pt x="26297" y="16060"/>
                    <a:pt x="26297" y="16060"/>
                  </a:cubicBezTo>
                  <a:cubicBezTo>
                    <a:pt x="26297" y="16060"/>
                    <a:pt x="26194" y="15837"/>
                    <a:pt x="26297" y="15785"/>
                  </a:cubicBezTo>
                  <a:cubicBezTo>
                    <a:pt x="26400" y="15734"/>
                    <a:pt x="26297" y="15648"/>
                    <a:pt x="26194" y="15785"/>
                  </a:cubicBezTo>
                  <a:lnTo>
                    <a:pt x="26194" y="15785"/>
                  </a:lnTo>
                  <a:cubicBezTo>
                    <a:pt x="26057" y="15785"/>
                    <a:pt x="26194" y="15476"/>
                    <a:pt x="26194" y="15493"/>
                  </a:cubicBezTo>
                  <a:cubicBezTo>
                    <a:pt x="26023" y="15493"/>
                    <a:pt x="25988" y="15613"/>
                    <a:pt x="25834" y="15493"/>
                  </a:cubicBezTo>
                  <a:cubicBezTo>
                    <a:pt x="25679" y="15373"/>
                    <a:pt x="25834" y="15493"/>
                    <a:pt x="25834" y="15596"/>
                  </a:cubicBezTo>
                  <a:cubicBezTo>
                    <a:pt x="25834" y="15699"/>
                    <a:pt x="25662" y="15459"/>
                    <a:pt x="25713" y="15596"/>
                  </a:cubicBezTo>
                  <a:cubicBezTo>
                    <a:pt x="25765" y="15734"/>
                    <a:pt x="25713" y="15493"/>
                    <a:pt x="25713" y="15459"/>
                  </a:cubicBezTo>
                  <a:lnTo>
                    <a:pt x="25713" y="15459"/>
                  </a:lnTo>
                  <a:cubicBezTo>
                    <a:pt x="25713" y="15459"/>
                    <a:pt x="25713" y="15287"/>
                    <a:pt x="25816" y="15236"/>
                  </a:cubicBezTo>
                  <a:cubicBezTo>
                    <a:pt x="25919" y="15184"/>
                    <a:pt x="25713" y="15029"/>
                    <a:pt x="25816" y="15064"/>
                  </a:cubicBezTo>
                  <a:cubicBezTo>
                    <a:pt x="25919" y="15098"/>
                    <a:pt x="25816" y="15064"/>
                    <a:pt x="25816" y="14961"/>
                  </a:cubicBezTo>
                  <a:cubicBezTo>
                    <a:pt x="25816" y="14858"/>
                    <a:pt x="25816" y="15047"/>
                    <a:pt x="25816" y="15081"/>
                  </a:cubicBezTo>
                  <a:lnTo>
                    <a:pt x="25816" y="15081"/>
                  </a:ln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6" y="15081"/>
                    <a:pt x="25816" y="15081"/>
                    <a:pt x="25816" y="15081"/>
                  </a:cubicBezTo>
                  <a:cubicBezTo>
                    <a:pt x="25812" y="15173"/>
                    <a:pt x="25812" y="15264"/>
                    <a:pt x="25816" y="15356"/>
                  </a:cubicBezTo>
                  <a:cubicBezTo>
                    <a:pt x="25713" y="15356"/>
                    <a:pt x="25816" y="15218"/>
                    <a:pt x="25816" y="15167"/>
                  </a:cubicBezTo>
                  <a:cubicBezTo>
                    <a:pt x="25816" y="15115"/>
                    <a:pt x="25816" y="14858"/>
                    <a:pt x="25919" y="14823"/>
                  </a:cubicBezTo>
                  <a:cubicBezTo>
                    <a:pt x="26023" y="14789"/>
                    <a:pt x="25919" y="14823"/>
                    <a:pt x="25919" y="14823"/>
                  </a:cubicBezTo>
                  <a:cubicBezTo>
                    <a:pt x="25919" y="14823"/>
                    <a:pt x="25799" y="14978"/>
                    <a:pt x="25731" y="14823"/>
                  </a:cubicBezTo>
                  <a:cubicBezTo>
                    <a:pt x="25662" y="14669"/>
                    <a:pt x="25731" y="14823"/>
                    <a:pt x="25731" y="14823"/>
                  </a:cubicBezTo>
                  <a:cubicBezTo>
                    <a:pt x="25731" y="14823"/>
                    <a:pt x="25731" y="14686"/>
                    <a:pt x="25868" y="14737"/>
                  </a:cubicBezTo>
                  <a:cubicBezTo>
                    <a:pt x="26005" y="14789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cubicBezTo>
                    <a:pt x="25868" y="14737"/>
                    <a:pt x="25868" y="14737"/>
                    <a:pt x="25868" y="14737"/>
                  </a:cubicBezTo>
                  <a:lnTo>
                    <a:pt x="25868" y="14737"/>
                  </a:lnTo>
                  <a:lnTo>
                    <a:pt x="25868" y="14652"/>
                  </a:lnTo>
                  <a:cubicBezTo>
                    <a:pt x="25868" y="14652"/>
                    <a:pt x="25868" y="14652"/>
                    <a:pt x="25868" y="14652"/>
                  </a:cubicBezTo>
                  <a:cubicBezTo>
                    <a:pt x="25868" y="14652"/>
                    <a:pt x="25868" y="14566"/>
                    <a:pt x="25868" y="14514"/>
                  </a:cubicBezTo>
                  <a:lnTo>
                    <a:pt x="25868" y="14514"/>
                  </a:lnTo>
                  <a:cubicBezTo>
                    <a:pt x="25868" y="14514"/>
                    <a:pt x="25868" y="14514"/>
                    <a:pt x="25868" y="14514"/>
                  </a:cubicBezTo>
                  <a:cubicBezTo>
                    <a:pt x="25868" y="14514"/>
                    <a:pt x="25868" y="14514"/>
                    <a:pt x="25971" y="14514"/>
                  </a:cubicBezTo>
                  <a:cubicBezTo>
                    <a:pt x="25976" y="14486"/>
                    <a:pt x="25976" y="14457"/>
                    <a:pt x="25971" y="14428"/>
                  </a:cubicBezTo>
                  <a:cubicBezTo>
                    <a:pt x="25971" y="14428"/>
                    <a:pt x="26091" y="14085"/>
                    <a:pt x="26126" y="14291"/>
                  </a:cubicBezTo>
                  <a:cubicBezTo>
                    <a:pt x="26160" y="14497"/>
                    <a:pt x="26126" y="14291"/>
                    <a:pt x="26126" y="14291"/>
                  </a:cubicBezTo>
                  <a:cubicBezTo>
                    <a:pt x="26538" y="14136"/>
                    <a:pt x="26435" y="14291"/>
                    <a:pt x="26126" y="14531"/>
                  </a:cubicBezTo>
                  <a:lnTo>
                    <a:pt x="26126" y="14531"/>
                  </a:lnTo>
                  <a:cubicBezTo>
                    <a:pt x="25902" y="14737"/>
                    <a:pt x="26366" y="14531"/>
                    <a:pt x="26486" y="14531"/>
                  </a:cubicBezTo>
                  <a:cubicBezTo>
                    <a:pt x="26607" y="14531"/>
                    <a:pt x="26486" y="15029"/>
                    <a:pt x="26263" y="14995"/>
                  </a:cubicBezTo>
                  <a:cubicBezTo>
                    <a:pt x="26040" y="14961"/>
                    <a:pt x="26263" y="14995"/>
                    <a:pt x="26263" y="14995"/>
                  </a:cubicBezTo>
                  <a:cubicBezTo>
                    <a:pt x="26263" y="14995"/>
                    <a:pt x="26108" y="15133"/>
                    <a:pt x="26005" y="14995"/>
                  </a:cubicBezTo>
                  <a:cubicBezTo>
                    <a:pt x="26064" y="15057"/>
                    <a:pt x="26162" y="15059"/>
                    <a:pt x="26224" y="15000"/>
                  </a:cubicBezTo>
                  <a:cubicBezTo>
                    <a:pt x="26226" y="14998"/>
                    <a:pt x="26227" y="14997"/>
                    <a:pt x="26229" y="14995"/>
                  </a:cubicBezTo>
                  <a:cubicBezTo>
                    <a:pt x="26486" y="15098"/>
                    <a:pt x="26503" y="15373"/>
                    <a:pt x="26589" y="15579"/>
                  </a:cubicBezTo>
                  <a:cubicBezTo>
                    <a:pt x="26675" y="15785"/>
                    <a:pt x="26830" y="15545"/>
                    <a:pt x="26967" y="15613"/>
                  </a:cubicBezTo>
                  <a:close/>
                  <a:moveTo>
                    <a:pt x="18138" y="47476"/>
                  </a:moveTo>
                  <a:lnTo>
                    <a:pt x="18138" y="47476"/>
                  </a:lnTo>
                  <a:lnTo>
                    <a:pt x="18138" y="47476"/>
                  </a:lnTo>
                  <a:lnTo>
                    <a:pt x="18138" y="47476"/>
                  </a:lnTo>
                  <a:lnTo>
                    <a:pt x="18224" y="47476"/>
                  </a:lnTo>
                  <a:lnTo>
                    <a:pt x="18224" y="47476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7984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8070" y="47338"/>
                  </a:lnTo>
                  <a:lnTo>
                    <a:pt x="17795" y="47218"/>
                  </a:lnTo>
                  <a:lnTo>
                    <a:pt x="17795" y="47218"/>
                  </a:lnTo>
                  <a:cubicBezTo>
                    <a:pt x="17795" y="47218"/>
                    <a:pt x="17795" y="47218"/>
                    <a:pt x="17795" y="47218"/>
                  </a:cubicBezTo>
                  <a:cubicBezTo>
                    <a:pt x="17762" y="47203"/>
                    <a:pt x="17725" y="47203"/>
                    <a:pt x="17692" y="47218"/>
                  </a:cubicBezTo>
                  <a:lnTo>
                    <a:pt x="17692" y="47218"/>
                  </a:lnTo>
                  <a:lnTo>
                    <a:pt x="17692" y="47218"/>
                  </a:lnTo>
                  <a:lnTo>
                    <a:pt x="17692" y="47218"/>
                  </a:lnTo>
                  <a:lnTo>
                    <a:pt x="17864" y="47218"/>
                  </a:lnTo>
                  <a:lnTo>
                    <a:pt x="17658" y="47218"/>
                  </a:lnTo>
                  <a:lnTo>
                    <a:pt x="17658" y="47218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417" y="47115"/>
                  </a:lnTo>
                  <a:lnTo>
                    <a:pt x="17280" y="47115"/>
                  </a:lnTo>
                  <a:lnTo>
                    <a:pt x="17469" y="47218"/>
                  </a:lnTo>
                  <a:lnTo>
                    <a:pt x="17194" y="47081"/>
                  </a:lnTo>
                  <a:lnTo>
                    <a:pt x="17194" y="47081"/>
                  </a:lnTo>
                  <a:lnTo>
                    <a:pt x="17366" y="47081"/>
                  </a:lnTo>
                  <a:lnTo>
                    <a:pt x="17228" y="47081"/>
                  </a:lnTo>
                  <a:lnTo>
                    <a:pt x="17366" y="47081"/>
                  </a:lnTo>
                  <a:lnTo>
                    <a:pt x="17108" y="46961"/>
                  </a:lnTo>
                  <a:lnTo>
                    <a:pt x="17108" y="46961"/>
                  </a:lnTo>
                  <a:lnTo>
                    <a:pt x="17005" y="46961"/>
                  </a:lnTo>
                  <a:lnTo>
                    <a:pt x="17005" y="46961"/>
                  </a:lnTo>
                  <a:lnTo>
                    <a:pt x="16782" y="46858"/>
                  </a:lnTo>
                  <a:lnTo>
                    <a:pt x="16782" y="46858"/>
                  </a:lnTo>
                  <a:lnTo>
                    <a:pt x="16696" y="46858"/>
                  </a:lnTo>
                  <a:lnTo>
                    <a:pt x="16696" y="46858"/>
                  </a:lnTo>
                  <a:cubicBezTo>
                    <a:pt x="16557" y="46803"/>
                    <a:pt x="16425" y="46733"/>
                    <a:pt x="16301" y="46651"/>
                  </a:cubicBezTo>
                  <a:lnTo>
                    <a:pt x="16301" y="46651"/>
                  </a:lnTo>
                  <a:lnTo>
                    <a:pt x="16129" y="46548"/>
                  </a:lnTo>
                  <a:lnTo>
                    <a:pt x="16283" y="46651"/>
                  </a:lnTo>
                  <a:lnTo>
                    <a:pt x="15940" y="46462"/>
                  </a:lnTo>
                  <a:lnTo>
                    <a:pt x="15940" y="46462"/>
                  </a:lnTo>
                  <a:lnTo>
                    <a:pt x="15837" y="46462"/>
                  </a:lnTo>
                  <a:lnTo>
                    <a:pt x="15837" y="46462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665" y="46359"/>
                  </a:lnTo>
                  <a:lnTo>
                    <a:pt x="15510" y="46274"/>
                  </a:lnTo>
                  <a:lnTo>
                    <a:pt x="15510" y="46274"/>
                  </a:lnTo>
                  <a:lnTo>
                    <a:pt x="15339" y="46153"/>
                  </a:lnTo>
                  <a:lnTo>
                    <a:pt x="15339" y="46153"/>
                  </a:lnTo>
                  <a:lnTo>
                    <a:pt x="15201" y="46153"/>
                  </a:lnTo>
                  <a:lnTo>
                    <a:pt x="15201" y="46153"/>
                  </a:lnTo>
                  <a:cubicBezTo>
                    <a:pt x="15162" y="46164"/>
                    <a:pt x="15120" y="46164"/>
                    <a:pt x="15081" y="46153"/>
                  </a:cubicBezTo>
                  <a:lnTo>
                    <a:pt x="15081" y="46153"/>
                  </a:lnTo>
                  <a:lnTo>
                    <a:pt x="15218" y="46239"/>
                  </a:lnTo>
                  <a:lnTo>
                    <a:pt x="15081" y="46153"/>
                  </a:lnTo>
                  <a:lnTo>
                    <a:pt x="15081" y="46153"/>
                  </a:lnTo>
                  <a:lnTo>
                    <a:pt x="14961" y="46153"/>
                  </a:lnTo>
                  <a:lnTo>
                    <a:pt x="14961" y="46153"/>
                  </a:lnTo>
                  <a:lnTo>
                    <a:pt x="14823" y="46067"/>
                  </a:lnTo>
                  <a:cubicBezTo>
                    <a:pt x="14890" y="46095"/>
                    <a:pt x="14953" y="46130"/>
                    <a:pt x="15012" y="46170"/>
                  </a:cubicBezTo>
                  <a:cubicBezTo>
                    <a:pt x="15012" y="46170"/>
                    <a:pt x="15150" y="46274"/>
                    <a:pt x="15184" y="46274"/>
                  </a:cubicBezTo>
                  <a:lnTo>
                    <a:pt x="14720" y="45947"/>
                  </a:lnTo>
                  <a:lnTo>
                    <a:pt x="14720" y="45947"/>
                  </a:lnTo>
                  <a:cubicBezTo>
                    <a:pt x="14446" y="45724"/>
                    <a:pt x="14136" y="45535"/>
                    <a:pt x="13879" y="45312"/>
                  </a:cubicBezTo>
                  <a:lnTo>
                    <a:pt x="13982" y="45312"/>
                  </a:lnTo>
                  <a:lnTo>
                    <a:pt x="13827" y="45191"/>
                  </a:lnTo>
                  <a:lnTo>
                    <a:pt x="13827" y="45191"/>
                  </a:lnTo>
                  <a:cubicBezTo>
                    <a:pt x="13827" y="45191"/>
                    <a:pt x="13827" y="45191"/>
                    <a:pt x="13724" y="45191"/>
                  </a:cubicBezTo>
                  <a:lnTo>
                    <a:pt x="13724" y="45191"/>
                  </a:lnTo>
                  <a:lnTo>
                    <a:pt x="13724" y="45191"/>
                  </a:lnTo>
                  <a:lnTo>
                    <a:pt x="13724" y="45191"/>
                  </a:lnTo>
                  <a:cubicBezTo>
                    <a:pt x="13500" y="45056"/>
                    <a:pt x="13292" y="44895"/>
                    <a:pt x="13106" y="44710"/>
                  </a:cubicBezTo>
                  <a:lnTo>
                    <a:pt x="13106" y="44710"/>
                  </a:lnTo>
                  <a:cubicBezTo>
                    <a:pt x="12865" y="44453"/>
                    <a:pt x="12573" y="44264"/>
                    <a:pt x="12316" y="44023"/>
                  </a:cubicBezTo>
                  <a:cubicBezTo>
                    <a:pt x="12316" y="44023"/>
                    <a:pt x="12316" y="44023"/>
                    <a:pt x="12316" y="44023"/>
                  </a:cubicBezTo>
                  <a:cubicBezTo>
                    <a:pt x="11271" y="42931"/>
                    <a:pt x="10350" y="41727"/>
                    <a:pt x="9567" y="40434"/>
                  </a:cubicBezTo>
                  <a:lnTo>
                    <a:pt x="9567" y="40434"/>
                  </a:lnTo>
                  <a:cubicBezTo>
                    <a:pt x="9215" y="39466"/>
                    <a:pt x="8691" y="38570"/>
                    <a:pt x="8021" y="37788"/>
                  </a:cubicBezTo>
                  <a:lnTo>
                    <a:pt x="8021" y="37788"/>
                  </a:lnTo>
                  <a:cubicBezTo>
                    <a:pt x="6949" y="36560"/>
                    <a:pt x="6200" y="35084"/>
                    <a:pt x="5840" y="33494"/>
                  </a:cubicBezTo>
                  <a:cubicBezTo>
                    <a:pt x="5840" y="33494"/>
                    <a:pt x="5840" y="33494"/>
                    <a:pt x="5840" y="33580"/>
                  </a:cubicBezTo>
                  <a:cubicBezTo>
                    <a:pt x="5850" y="33546"/>
                    <a:pt x="5850" y="33511"/>
                    <a:pt x="5840" y="33477"/>
                  </a:cubicBezTo>
                  <a:cubicBezTo>
                    <a:pt x="5840" y="33477"/>
                    <a:pt x="5840" y="33580"/>
                    <a:pt x="5840" y="33614"/>
                  </a:cubicBezTo>
                  <a:cubicBezTo>
                    <a:pt x="5600" y="33202"/>
                    <a:pt x="5685" y="28461"/>
                    <a:pt x="5222" y="30299"/>
                  </a:cubicBezTo>
                  <a:cubicBezTo>
                    <a:pt x="5222" y="30299"/>
                    <a:pt x="5222" y="30093"/>
                    <a:pt x="5222" y="30042"/>
                  </a:cubicBezTo>
                  <a:cubicBezTo>
                    <a:pt x="5222" y="29990"/>
                    <a:pt x="5222" y="30042"/>
                    <a:pt x="5222" y="30128"/>
                  </a:cubicBezTo>
                  <a:cubicBezTo>
                    <a:pt x="5222" y="30213"/>
                    <a:pt x="5222" y="29887"/>
                    <a:pt x="5067" y="29784"/>
                  </a:cubicBezTo>
                  <a:cubicBezTo>
                    <a:pt x="4913" y="29681"/>
                    <a:pt x="5067" y="29784"/>
                    <a:pt x="5067" y="29784"/>
                  </a:cubicBezTo>
                  <a:lnTo>
                    <a:pt x="5067" y="29784"/>
                  </a:lnTo>
                  <a:cubicBezTo>
                    <a:pt x="5067" y="29784"/>
                    <a:pt x="5067" y="29612"/>
                    <a:pt x="5067" y="29544"/>
                  </a:cubicBezTo>
                  <a:cubicBezTo>
                    <a:pt x="5067" y="29475"/>
                    <a:pt x="5067" y="29664"/>
                    <a:pt x="5067" y="29715"/>
                  </a:cubicBezTo>
                  <a:cubicBezTo>
                    <a:pt x="5067" y="29458"/>
                    <a:pt x="4947" y="29166"/>
                    <a:pt x="4844" y="28908"/>
                  </a:cubicBezTo>
                  <a:cubicBezTo>
                    <a:pt x="4844" y="28994"/>
                    <a:pt x="4844" y="29080"/>
                    <a:pt x="4844" y="29183"/>
                  </a:cubicBezTo>
                  <a:cubicBezTo>
                    <a:pt x="4689" y="28753"/>
                    <a:pt x="4672" y="28290"/>
                    <a:pt x="4552" y="27843"/>
                  </a:cubicBezTo>
                  <a:cubicBezTo>
                    <a:pt x="4552" y="27929"/>
                    <a:pt x="4552" y="27843"/>
                    <a:pt x="4552" y="27740"/>
                  </a:cubicBezTo>
                  <a:cubicBezTo>
                    <a:pt x="4552" y="27637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552" y="27740"/>
                    <a:pt x="4552" y="27740"/>
                    <a:pt x="4552" y="27740"/>
                  </a:cubicBezTo>
                  <a:cubicBezTo>
                    <a:pt x="4343" y="27287"/>
                    <a:pt x="4226" y="26796"/>
                    <a:pt x="4208" y="26297"/>
                  </a:cubicBezTo>
                  <a:cubicBezTo>
                    <a:pt x="4218" y="26366"/>
                    <a:pt x="4218" y="26435"/>
                    <a:pt x="4208" y="26503"/>
                  </a:cubicBezTo>
                  <a:cubicBezTo>
                    <a:pt x="4218" y="26435"/>
                    <a:pt x="4218" y="26366"/>
                    <a:pt x="4208" y="26297"/>
                  </a:cubicBezTo>
                  <a:lnTo>
                    <a:pt x="4208" y="26297"/>
                  </a:lnTo>
                  <a:cubicBezTo>
                    <a:pt x="4208" y="26297"/>
                    <a:pt x="4208" y="26297"/>
                    <a:pt x="4208" y="26297"/>
                  </a:cubicBezTo>
                  <a:lnTo>
                    <a:pt x="4208" y="26297"/>
                  </a:lnTo>
                  <a:lnTo>
                    <a:pt x="4208" y="26297"/>
                  </a:lnTo>
                  <a:cubicBezTo>
                    <a:pt x="4208" y="26297"/>
                    <a:pt x="4208" y="26297"/>
                    <a:pt x="4208" y="26400"/>
                  </a:cubicBezTo>
                  <a:cubicBezTo>
                    <a:pt x="4208" y="26503"/>
                    <a:pt x="4208" y="26400"/>
                    <a:pt x="4208" y="26400"/>
                  </a:cubicBezTo>
                  <a:lnTo>
                    <a:pt x="4208" y="26400"/>
                  </a:lnTo>
                  <a:lnTo>
                    <a:pt x="4208" y="26400"/>
                  </a:lnTo>
                  <a:cubicBezTo>
                    <a:pt x="4208" y="26314"/>
                    <a:pt x="4208" y="26194"/>
                    <a:pt x="4208" y="26091"/>
                  </a:cubicBezTo>
                  <a:lnTo>
                    <a:pt x="4208" y="26091"/>
                  </a:lnTo>
                  <a:cubicBezTo>
                    <a:pt x="4200" y="26034"/>
                    <a:pt x="4200" y="25976"/>
                    <a:pt x="4208" y="25919"/>
                  </a:cubicBezTo>
                  <a:lnTo>
                    <a:pt x="4208" y="25919"/>
                  </a:lnTo>
                  <a:cubicBezTo>
                    <a:pt x="4191" y="25679"/>
                    <a:pt x="4191" y="25438"/>
                    <a:pt x="4208" y="25198"/>
                  </a:cubicBezTo>
                  <a:lnTo>
                    <a:pt x="4208" y="25198"/>
                  </a:lnTo>
                  <a:cubicBezTo>
                    <a:pt x="4208" y="25198"/>
                    <a:pt x="4208" y="25112"/>
                    <a:pt x="4208" y="25078"/>
                  </a:cubicBezTo>
                  <a:lnTo>
                    <a:pt x="4208" y="25078"/>
                  </a:lnTo>
                  <a:cubicBezTo>
                    <a:pt x="4764" y="15747"/>
                    <a:pt x="10928" y="7687"/>
                    <a:pt x="19787" y="4706"/>
                  </a:cubicBezTo>
                  <a:lnTo>
                    <a:pt x="19787" y="4706"/>
                  </a:lnTo>
                  <a:lnTo>
                    <a:pt x="19994" y="4706"/>
                  </a:lnTo>
                  <a:lnTo>
                    <a:pt x="19994" y="4706"/>
                  </a:lnTo>
                  <a:lnTo>
                    <a:pt x="20217" y="4706"/>
                  </a:lnTo>
                  <a:lnTo>
                    <a:pt x="20062" y="4706"/>
                  </a:lnTo>
                  <a:lnTo>
                    <a:pt x="20337" y="4706"/>
                  </a:lnTo>
                  <a:lnTo>
                    <a:pt x="20234" y="4706"/>
                  </a:lnTo>
                  <a:lnTo>
                    <a:pt x="20234" y="4706"/>
                  </a:lnTo>
                  <a:lnTo>
                    <a:pt x="20423" y="4706"/>
                  </a:lnTo>
                  <a:lnTo>
                    <a:pt x="20423" y="4706"/>
                  </a:lnTo>
                  <a:lnTo>
                    <a:pt x="21711" y="4414"/>
                  </a:lnTo>
                  <a:lnTo>
                    <a:pt x="21711" y="4414"/>
                  </a:lnTo>
                  <a:lnTo>
                    <a:pt x="22038" y="4414"/>
                  </a:lnTo>
                  <a:lnTo>
                    <a:pt x="21814" y="4414"/>
                  </a:lnTo>
                  <a:lnTo>
                    <a:pt x="21814" y="4414"/>
                  </a:lnTo>
                  <a:lnTo>
                    <a:pt x="22415" y="4414"/>
                  </a:lnTo>
                  <a:lnTo>
                    <a:pt x="22415" y="4414"/>
                  </a:lnTo>
                  <a:lnTo>
                    <a:pt x="22106" y="4414"/>
                  </a:lnTo>
                  <a:lnTo>
                    <a:pt x="22398" y="4414"/>
                  </a:lnTo>
                  <a:lnTo>
                    <a:pt x="22398" y="4414"/>
                  </a:lnTo>
                  <a:lnTo>
                    <a:pt x="22690" y="4414"/>
                  </a:lnTo>
                  <a:lnTo>
                    <a:pt x="22587" y="4414"/>
                  </a:lnTo>
                  <a:lnTo>
                    <a:pt x="22484" y="4414"/>
                  </a:lnTo>
                  <a:lnTo>
                    <a:pt x="22725" y="4414"/>
                  </a:lnTo>
                  <a:lnTo>
                    <a:pt x="22347" y="4414"/>
                  </a:lnTo>
                  <a:lnTo>
                    <a:pt x="22244" y="4414"/>
                  </a:lnTo>
                  <a:lnTo>
                    <a:pt x="22055" y="4414"/>
                  </a:lnTo>
                  <a:lnTo>
                    <a:pt x="22415" y="4414"/>
                  </a:lnTo>
                  <a:lnTo>
                    <a:pt x="22020" y="4414"/>
                  </a:lnTo>
                  <a:lnTo>
                    <a:pt x="22020" y="4414"/>
                  </a:lnTo>
                  <a:lnTo>
                    <a:pt x="21608" y="4414"/>
                  </a:lnTo>
                  <a:lnTo>
                    <a:pt x="21608" y="4414"/>
                  </a:lnTo>
                  <a:lnTo>
                    <a:pt x="21213" y="4500"/>
                  </a:lnTo>
                  <a:lnTo>
                    <a:pt x="21385" y="4500"/>
                  </a:lnTo>
                  <a:lnTo>
                    <a:pt x="21385" y="4500"/>
                  </a:lnTo>
                  <a:cubicBezTo>
                    <a:pt x="21251" y="4544"/>
                    <a:pt x="21113" y="4572"/>
                    <a:pt x="20973" y="4586"/>
                  </a:cubicBezTo>
                  <a:lnTo>
                    <a:pt x="21144" y="4586"/>
                  </a:lnTo>
                  <a:lnTo>
                    <a:pt x="20955" y="4586"/>
                  </a:lnTo>
                  <a:lnTo>
                    <a:pt x="20955" y="4586"/>
                  </a:lnTo>
                  <a:lnTo>
                    <a:pt x="20835" y="4586"/>
                  </a:lnTo>
                  <a:lnTo>
                    <a:pt x="20835" y="4586"/>
                  </a:lnTo>
                  <a:lnTo>
                    <a:pt x="20835" y="4586"/>
                  </a:lnTo>
                  <a:cubicBezTo>
                    <a:pt x="20835" y="4586"/>
                    <a:pt x="20835" y="4586"/>
                    <a:pt x="20835" y="4586"/>
                  </a:cubicBezTo>
                  <a:lnTo>
                    <a:pt x="20835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663" y="4586"/>
                  </a:lnTo>
                  <a:lnTo>
                    <a:pt x="20560" y="4586"/>
                  </a:lnTo>
                  <a:lnTo>
                    <a:pt x="20560" y="4586"/>
                  </a:lnTo>
                  <a:lnTo>
                    <a:pt x="20114" y="4706"/>
                  </a:lnTo>
                  <a:lnTo>
                    <a:pt x="20114" y="4706"/>
                  </a:lnTo>
                  <a:lnTo>
                    <a:pt x="19787" y="4827"/>
                  </a:lnTo>
                  <a:lnTo>
                    <a:pt x="19787" y="4827"/>
                  </a:lnTo>
                  <a:lnTo>
                    <a:pt x="19392" y="4947"/>
                  </a:lnTo>
                  <a:lnTo>
                    <a:pt x="19392" y="4947"/>
                  </a:lnTo>
                  <a:lnTo>
                    <a:pt x="19100" y="5153"/>
                  </a:lnTo>
                  <a:lnTo>
                    <a:pt x="19100" y="5153"/>
                  </a:lnTo>
                  <a:lnTo>
                    <a:pt x="18997" y="5153"/>
                  </a:lnTo>
                  <a:lnTo>
                    <a:pt x="18997" y="5153"/>
                  </a:lnTo>
                  <a:lnTo>
                    <a:pt x="18430" y="5359"/>
                  </a:lnTo>
                  <a:lnTo>
                    <a:pt x="18568" y="5359"/>
                  </a:lnTo>
                  <a:lnTo>
                    <a:pt x="18568" y="5359"/>
                  </a:lnTo>
                  <a:cubicBezTo>
                    <a:pt x="18763" y="5286"/>
                    <a:pt x="18964" y="5229"/>
                    <a:pt x="19169" y="5187"/>
                  </a:cubicBezTo>
                  <a:lnTo>
                    <a:pt x="19169" y="5187"/>
                  </a:lnTo>
                  <a:lnTo>
                    <a:pt x="19341" y="5187"/>
                  </a:lnTo>
                  <a:lnTo>
                    <a:pt x="19461" y="5187"/>
                  </a:lnTo>
                  <a:lnTo>
                    <a:pt x="19186" y="5187"/>
                  </a:lnTo>
                  <a:lnTo>
                    <a:pt x="19186" y="5187"/>
                  </a:lnTo>
                  <a:lnTo>
                    <a:pt x="19032" y="5187"/>
                  </a:lnTo>
                  <a:lnTo>
                    <a:pt x="19032" y="5187"/>
                  </a:lnTo>
                  <a:lnTo>
                    <a:pt x="18911" y="5187"/>
                  </a:lnTo>
                  <a:lnTo>
                    <a:pt x="18911" y="5187"/>
                  </a:lnTo>
                  <a:lnTo>
                    <a:pt x="18740" y="5187"/>
                  </a:lnTo>
                  <a:lnTo>
                    <a:pt x="18740" y="5187"/>
                  </a:lnTo>
                  <a:lnTo>
                    <a:pt x="18894" y="5187"/>
                  </a:lnTo>
                  <a:lnTo>
                    <a:pt x="18894" y="5187"/>
                  </a:lnTo>
                  <a:lnTo>
                    <a:pt x="19049" y="5187"/>
                  </a:lnTo>
                  <a:lnTo>
                    <a:pt x="19049" y="5187"/>
                  </a:lnTo>
                  <a:lnTo>
                    <a:pt x="18860" y="5187"/>
                  </a:lnTo>
                  <a:cubicBezTo>
                    <a:pt x="18997" y="5187"/>
                    <a:pt x="19392" y="5067"/>
                    <a:pt x="19032" y="5187"/>
                  </a:cubicBezTo>
                  <a:lnTo>
                    <a:pt x="19186" y="5187"/>
                  </a:lnTo>
                  <a:lnTo>
                    <a:pt x="19289" y="5187"/>
                  </a:lnTo>
                  <a:lnTo>
                    <a:pt x="19650" y="5084"/>
                  </a:lnTo>
                  <a:cubicBezTo>
                    <a:pt x="19252" y="5196"/>
                    <a:pt x="18862" y="5334"/>
                    <a:pt x="18482" y="5497"/>
                  </a:cubicBezTo>
                  <a:lnTo>
                    <a:pt x="18654" y="5497"/>
                  </a:lnTo>
                  <a:lnTo>
                    <a:pt x="18654" y="5497"/>
                  </a:lnTo>
                  <a:cubicBezTo>
                    <a:pt x="18654" y="5497"/>
                    <a:pt x="18860" y="5497"/>
                    <a:pt x="18740" y="5497"/>
                  </a:cubicBezTo>
                  <a:lnTo>
                    <a:pt x="18894" y="5497"/>
                  </a:lnTo>
                  <a:lnTo>
                    <a:pt x="18894" y="5497"/>
                  </a:lnTo>
                  <a:lnTo>
                    <a:pt x="19032" y="5497"/>
                  </a:lnTo>
                  <a:cubicBezTo>
                    <a:pt x="18929" y="5497"/>
                    <a:pt x="18808" y="5497"/>
                    <a:pt x="18722" y="5617"/>
                  </a:cubicBezTo>
                  <a:lnTo>
                    <a:pt x="18722" y="5617"/>
                  </a:lnTo>
                  <a:lnTo>
                    <a:pt x="18585" y="5617"/>
                  </a:lnTo>
                  <a:lnTo>
                    <a:pt x="18585" y="5617"/>
                  </a:lnTo>
                  <a:lnTo>
                    <a:pt x="18413" y="5617"/>
                  </a:lnTo>
                  <a:cubicBezTo>
                    <a:pt x="18505" y="5624"/>
                    <a:pt x="18597" y="5624"/>
                    <a:pt x="18688" y="5617"/>
                  </a:cubicBezTo>
                  <a:cubicBezTo>
                    <a:pt x="18396" y="5771"/>
                    <a:pt x="18035" y="5909"/>
                    <a:pt x="17743" y="6098"/>
                  </a:cubicBezTo>
                  <a:lnTo>
                    <a:pt x="17743" y="6098"/>
                  </a:lnTo>
                  <a:lnTo>
                    <a:pt x="17554" y="6201"/>
                  </a:lnTo>
                  <a:lnTo>
                    <a:pt x="17743" y="6201"/>
                  </a:lnTo>
                  <a:lnTo>
                    <a:pt x="17743" y="6201"/>
                  </a:lnTo>
                  <a:cubicBezTo>
                    <a:pt x="17743" y="6201"/>
                    <a:pt x="17743" y="6201"/>
                    <a:pt x="17743" y="6201"/>
                  </a:cubicBezTo>
                  <a:cubicBezTo>
                    <a:pt x="17557" y="6309"/>
                    <a:pt x="17362" y="6402"/>
                    <a:pt x="17159" y="6476"/>
                  </a:cubicBezTo>
                  <a:cubicBezTo>
                    <a:pt x="17159" y="6476"/>
                    <a:pt x="17159" y="6476"/>
                    <a:pt x="17159" y="6476"/>
                  </a:cubicBezTo>
                  <a:cubicBezTo>
                    <a:pt x="17159" y="6476"/>
                    <a:pt x="17056" y="6476"/>
                    <a:pt x="17039" y="6476"/>
                  </a:cubicBezTo>
                  <a:lnTo>
                    <a:pt x="17039" y="6476"/>
                  </a:lnTo>
                  <a:cubicBezTo>
                    <a:pt x="16976" y="6499"/>
                    <a:pt x="16918" y="6534"/>
                    <a:pt x="16867" y="6579"/>
                  </a:cubicBezTo>
                  <a:lnTo>
                    <a:pt x="16867" y="6579"/>
                  </a:lnTo>
                  <a:cubicBezTo>
                    <a:pt x="16867" y="6579"/>
                    <a:pt x="16627" y="6750"/>
                    <a:pt x="16730" y="6716"/>
                  </a:cubicBezTo>
                  <a:lnTo>
                    <a:pt x="16730" y="6716"/>
                  </a:lnTo>
                  <a:lnTo>
                    <a:pt x="16730" y="6716"/>
                  </a:lnTo>
                  <a:lnTo>
                    <a:pt x="16730" y="6716"/>
                  </a:lnTo>
                  <a:cubicBezTo>
                    <a:pt x="16730" y="6716"/>
                    <a:pt x="16730" y="6716"/>
                    <a:pt x="16730" y="6716"/>
                  </a:cubicBezTo>
                  <a:lnTo>
                    <a:pt x="16885" y="6716"/>
                  </a:lnTo>
                  <a:lnTo>
                    <a:pt x="16627" y="6853"/>
                  </a:lnTo>
                  <a:lnTo>
                    <a:pt x="16627" y="6853"/>
                  </a:lnTo>
                  <a:cubicBezTo>
                    <a:pt x="16627" y="6853"/>
                    <a:pt x="16455" y="6853"/>
                    <a:pt x="16386" y="6991"/>
                  </a:cubicBezTo>
                  <a:cubicBezTo>
                    <a:pt x="16318" y="7128"/>
                    <a:pt x="16507" y="6991"/>
                    <a:pt x="16558" y="6991"/>
                  </a:cubicBezTo>
                  <a:cubicBezTo>
                    <a:pt x="16389" y="7066"/>
                    <a:pt x="16228" y="7158"/>
                    <a:pt x="16077" y="7266"/>
                  </a:cubicBezTo>
                  <a:lnTo>
                    <a:pt x="16077" y="7266"/>
                  </a:lnTo>
                  <a:lnTo>
                    <a:pt x="16077" y="7266"/>
                  </a:lnTo>
                  <a:cubicBezTo>
                    <a:pt x="16317" y="7116"/>
                    <a:pt x="16570" y="6989"/>
                    <a:pt x="16833" y="6888"/>
                  </a:cubicBezTo>
                  <a:lnTo>
                    <a:pt x="16833" y="6888"/>
                  </a:lnTo>
                  <a:cubicBezTo>
                    <a:pt x="16833" y="6888"/>
                    <a:pt x="16833" y="6888"/>
                    <a:pt x="16833" y="6888"/>
                  </a:cubicBezTo>
                  <a:lnTo>
                    <a:pt x="16833" y="6888"/>
                  </a:lnTo>
                  <a:lnTo>
                    <a:pt x="16936" y="6888"/>
                  </a:lnTo>
                  <a:lnTo>
                    <a:pt x="16833" y="6888"/>
                  </a:lnTo>
                  <a:cubicBezTo>
                    <a:pt x="16833" y="6888"/>
                    <a:pt x="16988" y="6785"/>
                    <a:pt x="17056" y="6785"/>
                  </a:cubicBezTo>
                  <a:lnTo>
                    <a:pt x="17056" y="6785"/>
                  </a:lnTo>
                  <a:cubicBezTo>
                    <a:pt x="17056" y="6785"/>
                    <a:pt x="17314" y="6682"/>
                    <a:pt x="17159" y="6785"/>
                  </a:cubicBezTo>
                  <a:lnTo>
                    <a:pt x="17039" y="6785"/>
                  </a:lnTo>
                  <a:cubicBezTo>
                    <a:pt x="17073" y="6775"/>
                    <a:pt x="17109" y="6775"/>
                    <a:pt x="17142" y="6785"/>
                  </a:cubicBezTo>
                  <a:lnTo>
                    <a:pt x="17022" y="6785"/>
                  </a:lnTo>
                  <a:lnTo>
                    <a:pt x="17022" y="6785"/>
                  </a:lnTo>
                  <a:cubicBezTo>
                    <a:pt x="17022" y="6785"/>
                    <a:pt x="17022" y="6785"/>
                    <a:pt x="16885" y="6785"/>
                  </a:cubicBezTo>
                  <a:cubicBezTo>
                    <a:pt x="16747" y="6785"/>
                    <a:pt x="17074" y="6785"/>
                    <a:pt x="17005" y="6785"/>
                  </a:cubicBezTo>
                  <a:cubicBezTo>
                    <a:pt x="17104" y="6745"/>
                    <a:pt x="17215" y="6745"/>
                    <a:pt x="17314" y="6785"/>
                  </a:cubicBezTo>
                  <a:lnTo>
                    <a:pt x="17314" y="6785"/>
                  </a:lnTo>
                  <a:cubicBezTo>
                    <a:pt x="17125" y="6922"/>
                    <a:pt x="16902" y="702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696" y="7145"/>
                  </a:lnTo>
                  <a:cubicBezTo>
                    <a:pt x="16696" y="7145"/>
                    <a:pt x="16696" y="7145"/>
                    <a:pt x="16696" y="7145"/>
                  </a:cubicBezTo>
                  <a:lnTo>
                    <a:pt x="16696" y="7145"/>
                  </a:lnTo>
                  <a:lnTo>
                    <a:pt x="16696" y="7145"/>
                  </a:lnTo>
                  <a:lnTo>
                    <a:pt x="16455" y="7300"/>
                  </a:lnTo>
                  <a:lnTo>
                    <a:pt x="16455" y="7300"/>
                  </a:lnTo>
                  <a:cubicBezTo>
                    <a:pt x="16455" y="7300"/>
                    <a:pt x="16455" y="7300"/>
                    <a:pt x="16455" y="7386"/>
                  </a:cubicBezTo>
                  <a:lnTo>
                    <a:pt x="16610" y="7386"/>
                  </a:lnTo>
                  <a:lnTo>
                    <a:pt x="16610" y="7386"/>
                  </a:lnTo>
                  <a:lnTo>
                    <a:pt x="16610" y="7489"/>
                  </a:lnTo>
                  <a:cubicBezTo>
                    <a:pt x="16610" y="7489"/>
                    <a:pt x="16610" y="7489"/>
                    <a:pt x="16610" y="7489"/>
                  </a:cubicBezTo>
                  <a:lnTo>
                    <a:pt x="16610" y="7489"/>
                  </a:lnTo>
                  <a:cubicBezTo>
                    <a:pt x="16953" y="7266"/>
                    <a:pt x="16713" y="7489"/>
                    <a:pt x="16610" y="7592"/>
                  </a:cubicBezTo>
                  <a:cubicBezTo>
                    <a:pt x="16730" y="7592"/>
                    <a:pt x="16833" y="7386"/>
                    <a:pt x="16970" y="7334"/>
                  </a:cubicBezTo>
                  <a:lnTo>
                    <a:pt x="16970" y="7334"/>
                  </a:lnTo>
                  <a:cubicBezTo>
                    <a:pt x="16970" y="7334"/>
                    <a:pt x="17280" y="7145"/>
                    <a:pt x="17108" y="7334"/>
                  </a:cubicBezTo>
                  <a:lnTo>
                    <a:pt x="17245" y="7334"/>
                  </a:lnTo>
                  <a:lnTo>
                    <a:pt x="17142" y="7334"/>
                  </a:lnTo>
                  <a:cubicBezTo>
                    <a:pt x="17142" y="7334"/>
                    <a:pt x="17142" y="7334"/>
                    <a:pt x="17142" y="7334"/>
                  </a:cubicBezTo>
                  <a:cubicBezTo>
                    <a:pt x="17142" y="7334"/>
                    <a:pt x="17022" y="7334"/>
                    <a:pt x="16988" y="7437"/>
                  </a:cubicBezTo>
                  <a:lnTo>
                    <a:pt x="16988" y="7437"/>
                  </a:lnTo>
                  <a:cubicBezTo>
                    <a:pt x="16988" y="7437"/>
                    <a:pt x="16885" y="7437"/>
                    <a:pt x="16867" y="7437"/>
                  </a:cubicBezTo>
                  <a:cubicBezTo>
                    <a:pt x="17211" y="7317"/>
                    <a:pt x="16747" y="7437"/>
                    <a:pt x="16610" y="7575"/>
                  </a:cubicBezTo>
                  <a:lnTo>
                    <a:pt x="16610" y="7575"/>
                  </a:lnTo>
                  <a:lnTo>
                    <a:pt x="16421" y="7678"/>
                  </a:lnTo>
                  <a:lnTo>
                    <a:pt x="16421" y="7678"/>
                  </a:lnTo>
                  <a:lnTo>
                    <a:pt x="16283" y="7678"/>
                  </a:lnTo>
                  <a:cubicBezTo>
                    <a:pt x="16438" y="7678"/>
                    <a:pt x="16283" y="7678"/>
                    <a:pt x="16283" y="7678"/>
                  </a:cubicBezTo>
                  <a:lnTo>
                    <a:pt x="16283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lnTo>
                    <a:pt x="16129" y="7678"/>
                  </a:lnTo>
                  <a:cubicBezTo>
                    <a:pt x="16026" y="7678"/>
                    <a:pt x="15923" y="7833"/>
                    <a:pt x="15820" y="7867"/>
                  </a:cubicBezTo>
                  <a:cubicBezTo>
                    <a:pt x="15717" y="7901"/>
                    <a:pt x="15974" y="7764"/>
                    <a:pt x="16043" y="7747"/>
                  </a:cubicBezTo>
                  <a:cubicBezTo>
                    <a:pt x="16112" y="7729"/>
                    <a:pt x="16043" y="7747"/>
                    <a:pt x="16043" y="7747"/>
                  </a:cubicBezTo>
                  <a:cubicBezTo>
                    <a:pt x="16131" y="7705"/>
                    <a:pt x="16223" y="7670"/>
                    <a:pt x="16318" y="7644"/>
                  </a:cubicBezTo>
                  <a:lnTo>
                    <a:pt x="16198" y="7644"/>
                  </a:lnTo>
                  <a:cubicBezTo>
                    <a:pt x="16386" y="7558"/>
                    <a:pt x="16558" y="7420"/>
                    <a:pt x="16747" y="7352"/>
                  </a:cubicBezTo>
                  <a:lnTo>
                    <a:pt x="16747" y="7352"/>
                  </a:lnTo>
                  <a:lnTo>
                    <a:pt x="16747" y="7352"/>
                  </a:lnTo>
                  <a:cubicBezTo>
                    <a:pt x="16976" y="7288"/>
                    <a:pt x="17195" y="7196"/>
                    <a:pt x="17400" y="7077"/>
                  </a:cubicBezTo>
                  <a:cubicBezTo>
                    <a:pt x="17400" y="7077"/>
                    <a:pt x="17400" y="7077"/>
                    <a:pt x="17262" y="7077"/>
                  </a:cubicBezTo>
                  <a:lnTo>
                    <a:pt x="17262" y="7077"/>
                  </a:lnTo>
                  <a:cubicBezTo>
                    <a:pt x="17366" y="7077"/>
                    <a:pt x="17761" y="6836"/>
                    <a:pt x="17520" y="6991"/>
                  </a:cubicBezTo>
                  <a:cubicBezTo>
                    <a:pt x="17692" y="6991"/>
                    <a:pt x="17692" y="6819"/>
                    <a:pt x="17846" y="6768"/>
                  </a:cubicBezTo>
                  <a:cubicBezTo>
                    <a:pt x="17692" y="6768"/>
                    <a:pt x="17846" y="6768"/>
                    <a:pt x="17846" y="6768"/>
                  </a:cubicBezTo>
                  <a:lnTo>
                    <a:pt x="17846" y="6768"/>
                  </a:lnTo>
                  <a:cubicBezTo>
                    <a:pt x="18036" y="6628"/>
                    <a:pt x="18252" y="6528"/>
                    <a:pt x="18482" y="6476"/>
                  </a:cubicBezTo>
                  <a:lnTo>
                    <a:pt x="18482" y="6476"/>
                  </a:lnTo>
                  <a:cubicBezTo>
                    <a:pt x="18662" y="6364"/>
                    <a:pt x="18859" y="6282"/>
                    <a:pt x="19066" y="6235"/>
                  </a:cubicBezTo>
                  <a:lnTo>
                    <a:pt x="18911" y="6321"/>
                  </a:lnTo>
                  <a:cubicBezTo>
                    <a:pt x="19100" y="6321"/>
                    <a:pt x="19238" y="6149"/>
                    <a:pt x="19427" y="6115"/>
                  </a:cubicBezTo>
                  <a:lnTo>
                    <a:pt x="19238" y="6252"/>
                  </a:lnTo>
                  <a:cubicBezTo>
                    <a:pt x="20286" y="5617"/>
                    <a:pt x="22038" y="4998"/>
                    <a:pt x="20303" y="5909"/>
                  </a:cubicBezTo>
                  <a:cubicBezTo>
                    <a:pt x="20578" y="5823"/>
                    <a:pt x="21230" y="5411"/>
                    <a:pt x="21024" y="5651"/>
                  </a:cubicBezTo>
                  <a:cubicBezTo>
                    <a:pt x="21780" y="5393"/>
                    <a:pt x="20629" y="6012"/>
                    <a:pt x="20303" y="6149"/>
                  </a:cubicBezTo>
                  <a:cubicBezTo>
                    <a:pt x="20698" y="6012"/>
                    <a:pt x="20303" y="6149"/>
                    <a:pt x="20303" y="6149"/>
                  </a:cubicBezTo>
                  <a:cubicBezTo>
                    <a:pt x="20303" y="6149"/>
                    <a:pt x="20560" y="5977"/>
                    <a:pt x="20406" y="6149"/>
                  </a:cubicBezTo>
                  <a:cubicBezTo>
                    <a:pt x="20663" y="5857"/>
                    <a:pt x="20921" y="6149"/>
                    <a:pt x="20492" y="6235"/>
                  </a:cubicBezTo>
                  <a:cubicBezTo>
                    <a:pt x="20448" y="6218"/>
                    <a:pt x="20398" y="6218"/>
                    <a:pt x="20354" y="6235"/>
                  </a:cubicBezTo>
                  <a:cubicBezTo>
                    <a:pt x="20612" y="6235"/>
                    <a:pt x="20251" y="6321"/>
                    <a:pt x="20165" y="6355"/>
                  </a:cubicBezTo>
                  <a:cubicBezTo>
                    <a:pt x="20818" y="6149"/>
                    <a:pt x="19616" y="6647"/>
                    <a:pt x="20337" y="6355"/>
                  </a:cubicBezTo>
                  <a:cubicBezTo>
                    <a:pt x="19427" y="6750"/>
                    <a:pt x="20749" y="6355"/>
                    <a:pt x="19856" y="6716"/>
                  </a:cubicBezTo>
                  <a:cubicBezTo>
                    <a:pt x="19856" y="6819"/>
                    <a:pt x="19856" y="6716"/>
                    <a:pt x="20097" y="6716"/>
                  </a:cubicBezTo>
                  <a:cubicBezTo>
                    <a:pt x="19967" y="6814"/>
                    <a:pt x="19822" y="6889"/>
                    <a:pt x="19667" y="6939"/>
                  </a:cubicBezTo>
                  <a:cubicBezTo>
                    <a:pt x="19564" y="6939"/>
                    <a:pt x="20423" y="6939"/>
                    <a:pt x="19495" y="7145"/>
                  </a:cubicBezTo>
                  <a:cubicBezTo>
                    <a:pt x="19392" y="7145"/>
                    <a:pt x="19959" y="7145"/>
                    <a:pt x="19358" y="7266"/>
                  </a:cubicBezTo>
                  <a:cubicBezTo>
                    <a:pt x="19856" y="7094"/>
                    <a:pt x="19925" y="7266"/>
                    <a:pt x="19358" y="7352"/>
                  </a:cubicBezTo>
                  <a:cubicBezTo>
                    <a:pt x="19581" y="7541"/>
                    <a:pt x="19255" y="7592"/>
                    <a:pt x="19358" y="7523"/>
                  </a:cubicBezTo>
                  <a:cubicBezTo>
                    <a:pt x="19083" y="7523"/>
                    <a:pt x="19358" y="7747"/>
                    <a:pt x="19049" y="7626"/>
                  </a:cubicBezTo>
                  <a:cubicBezTo>
                    <a:pt x="18860" y="7953"/>
                    <a:pt x="19186" y="7764"/>
                    <a:pt x="18860" y="7918"/>
                  </a:cubicBezTo>
                  <a:cubicBezTo>
                    <a:pt x="19118" y="7833"/>
                    <a:pt x="18654" y="8193"/>
                    <a:pt x="18860" y="8039"/>
                  </a:cubicBezTo>
                  <a:cubicBezTo>
                    <a:pt x="18534" y="8365"/>
                    <a:pt x="19152" y="7850"/>
                    <a:pt x="18705" y="8399"/>
                  </a:cubicBezTo>
                  <a:cubicBezTo>
                    <a:pt x="18482" y="8520"/>
                    <a:pt x="19066" y="8399"/>
                    <a:pt x="18551" y="8588"/>
                  </a:cubicBezTo>
                  <a:cubicBezTo>
                    <a:pt x="18929" y="8434"/>
                    <a:pt x="18637" y="8966"/>
                    <a:pt x="18396" y="8829"/>
                  </a:cubicBezTo>
                  <a:cubicBezTo>
                    <a:pt x="18396" y="8966"/>
                    <a:pt x="18242" y="9069"/>
                    <a:pt x="18190" y="8966"/>
                  </a:cubicBezTo>
                  <a:cubicBezTo>
                    <a:pt x="18138" y="8863"/>
                    <a:pt x="18018" y="9155"/>
                    <a:pt x="18190" y="8966"/>
                  </a:cubicBezTo>
                  <a:cubicBezTo>
                    <a:pt x="18362" y="8777"/>
                    <a:pt x="17692" y="9447"/>
                    <a:pt x="17846" y="9155"/>
                  </a:cubicBezTo>
                  <a:cubicBezTo>
                    <a:pt x="17709" y="8966"/>
                    <a:pt x="18173" y="8709"/>
                    <a:pt x="18224" y="8605"/>
                  </a:cubicBezTo>
                  <a:cubicBezTo>
                    <a:pt x="17915" y="8777"/>
                    <a:pt x="18104" y="8605"/>
                    <a:pt x="18224" y="8434"/>
                  </a:cubicBezTo>
                  <a:cubicBezTo>
                    <a:pt x="18345" y="8262"/>
                    <a:pt x="17967" y="8640"/>
                    <a:pt x="18053" y="8434"/>
                  </a:cubicBezTo>
                  <a:cubicBezTo>
                    <a:pt x="17761" y="8709"/>
                    <a:pt x="17589" y="8743"/>
                    <a:pt x="17486" y="9155"/>
                  </a:cubicBezTo>
                  <a:cubicBezTo>
                    <a:pt x="17383" y="9567"/>
                    <a:pt x="16816" y="10065"/>
                    <a:pt x="16747" y="9842"/>
                  </a:cubicBezTo>
                  <a:cubicBezTo>
                    <a:pt x="16678" y="9619"/>
                    <a:pt x="16867" y="9722"/>
                    <a:pt x="16747" y="9396"/>
                  </a:cubicBezTo>
                  <a:cubicBezTo>
                    <a:pt x="16524" y="9791"/>
                    <a:pt x="16524" y="10306"/>
                    <a:pt x="16524" y="10306"/>
                  </a:cubicBezTo>
                  <a:cubicBezTo>
                    <a:pt x="15820" y="10461"/>
                    <a:pt x="16644" y="9104"/>
                    <a:pt x="16799" y="9069"/>
                  </a:cubicBezTo>
                  <a:cubicBezTo>
                    <a:pt x="16524" y="9172"/>
                    <a:pt x="16799" y="9069"/>
                    <a:pt x="16558" y="9069"/>
                  </a:cubicBezTo>
                  <a:cubicBezTo>
                    <a:pt x="16678" y="8897"/>
                    <a:pt x="16386" y="9155"/>
                    <a:pt x="16301" y="9069"/>
                  </a:cubicBezTo>
                  <a:cubicBezTo>
                    <a:pt x="16215" y="8983"/>
                    <a:pt x="17005" y="8382"/>
                    <a:pt x="16850" y="8794"/>
                  </a:cubicBezTo>
                  <a:cubicBezTo>
                    <a:pt x="18310" y="8485"/>
                    <a:pt x="19203" y="7077"/>
                    <a:pt x="19530" y="6733"/>
                  </a:cubicBezTo>
                  <a:cubicBezTo>
                    <a:pt x="19032" y="7145"/>
                    <a:pt x="19169" y="6733"/>
                    <a:pt x="18980" y="6733"/>
                  </a:cubicBezTo>
                  <a:cubicBezTo>
                    <a:pt x="18791" y="6733"/>
                    <a:pt x="19238" y="6579"/>
                    <a:pt x="18980" y="6561"/>
                  </a:cubicBezTo>
                  <a:cubicBezTo>
                    <a:pt x="19203" y="6321"/>
                    <a:pt x="18980" y="6561"/>
                    <a:pt x="18980" y="6373"/>
                  </a:cubicBezTo>
                  <a:lnTo>
                    <a:pt x="19083" y="6373"/>
                  </a:lnTo>
                  <a:lnTo>
                    <a:pt x="18929" y="6458"/>
                  </a:lnTo>
                  <a:cubicBezTo>
                    <a:pt x="18671" y="6579"/>
                    <a:pt x="18430" y="6733"/>
                    <a:pt x="18173" y="6871"/>
                  </a:cubicBezTo>
                  <a:lnTo>
                    <a:pt x="18173" y="6871"/>
                  </a:lnTo>
                  <a:lnTo>
                    <a:pt x="18293" y="6871"/>
                  </a:lnTo>
                  <a:lnTo>
                    <a:pt x="18242" y="6871"/>
                  </a:lnTo>
                  <a:lnTo>
                    <a:pt x="18242" y="6871"/>
                  </a:lnTo>
                  <a:cubicBezTo>
                    <a:pt x="18242" y="6957"/>
                    <a:pt x="17984" y="6871"/>
                    <a:pt x="17898" y="7025"/>
                  </a:cubicBezTo>
                  <a:lnTo>
                    <a:pt x="17898" y="7025"/>
                  </a:lnTo>
                  <a:lnTo>
                    <a:pt x="17898" y="7025"/>
                  </a:lnTo>
                  <a:lnTo>
                    <a:pt x="18001" y="7025"/>
                  </a:lnTo>
                  <a:cubicBezTo>
                    <a:pt x="18001" y="7025"/>
                    <a:pt x="18001" y="7025"/>
                    <a:pt x="18001" y="7025"/>
                  </a:cubicBezTo>
                  <a:lnTo>
                    <a:pt x="18001" y="7025"/>
                  </a:lnTo>
                  <a:cubicBezTo>
                    <a:pt x="18001" y="7025"/>
                    <a:pt x="17881" y="7025"/>
                    <a:pt x="17829" y="7025"/>
                  </a:cubicBezTo>
                  <a:lnTo>
                    <a:pt x="17829" y="7025"/>
                  </a:lnTo>
                  <a:lnTo>
                    <a:pt x="17829" y="7025"/>
                  </a:lnTo>
                  <a:cubicBezTo>
                    <a:pt x="17623" y="7180"/>
                    <a:pt x="17400" y="7300"/>
                    <a:pt x="17177" y="7437"/>
                  </a:cubicBezTo>
                  <a:lnTo>
                    <a:pt x="17434" y="7334"/>
                  </a:lnTo>
                  <a:lnTo>
                    <a:pt x="17434" y="7334"/>
                  </a:lnTo>
                  <a:lnTo>
                    <a:pt x="17864" y="7111"/>
                  </a:lnTo>
                  <a:cubicBezTo>
                    <a:pt x="17702" y="7258"/>
                    <a:pt x="17523" y="7385"/>
                    <a:pt x="17331" y="7489"/>
                  </a:cubicBezTo>
                  <a:lnTo>
                    <a:pt x="17331" y="7489"/>
                  </a:lnTo>
                  <a:cubicBezTo>
                    <a:pt x="17075" y="7607"/>
                    <a:pt x="16843" y="7770"/>
                    <a:pt x="16644" y="7970"/>
                  </a:cubicBezTo>
                  <a:cubicBezTo>
                    <a:pt x="16644" y="7970"/>
                    <a:pt x="16747" y="7884"/>
                    <a:pt x="16799" y="7884"/>
                  </a:cubicBezTo>
                  <a:lnTo>
                    <a:pt x="16799" y="7884"/>
                  </a:lnTo>
                  <a:lnTo>
                    <a:pt x="17675" y="7437"/>
                  </a:lnTo>
                  <a:lnTo>
                    <a:pt x="17675" y="7437"/>
                  </a:lnTo>
                  <a:lnTo>
                    <a:pt x="17675" y="7437"/>
                  </a:lnTo>
                  <a:cubicBezTo>
                    <a:pt x="17675" y="7437"/>
                    <a:pt x="17675" y="7334"/>
                    <a:pt x="17812" y="7352"/>
                  </a:cubicBezTo>
                  <a:lnTo>
                    <a:pt x="17812" y="7352"/>
                  </a:lnTo>
                  <a:cubicBezTo>
                    <a:pt x="17812" y="7352"/>
                    <a:pt x="17812" y="7352"/>
                    <a:pt x="17932" y="7352"/>
                  </a:cubicBezTo>
                  <a:lnTo>
                    <a:pt x="17932" y="7352"/>
                  </a:lnTo>
                  <a:lnTo>
                    <a:pt x="18362" y="7111"/>
                  </a:lnTo>
                  <a:cubicBezTo>
                    <a:pt x="18362" y="7111"/>
                    <a:pt x="18362" y="7111"/>
                    <a:pt x="18362" y="7266"/>
                  </a:cubicBezTo>
                  <a:lnTo>
                    <a:pt x="18362" y="7266"/>
                  </a:lnTo>
                  <a:cubicBezTo>
                    <a:pt x="18341" y="7321"/>
                    <a:pt x="18297" y="7365"/>
                    <a:pt x="18242" y="7386"/>
                  </a:cubicBezTo>
                  <a:cubicBezTo>
                    <a:pt x="18242" y="7300"/>
                    <a:pt x="18242" y="7472"/>
                    <a:pt x="18104" y="7489"/>
                  </a:cubicBezTo>
                  <a:cubicBezTo>
                    <a:pt x="17967" y="7506"/>
                    <a:pt x="17967" y="7626"/>
                    <a:pt x="17898" y="7626"/>
                  </a:cubicBezTo>
                  <a:cubicBezTo>
                    <a:pt x="17829" y="7626"/>
                    <a:pt x="17898" y="7626"/>
                    <a:pt x="17898" y="7626"/>
                  </a:cubicBezTo>
                  <a:lnTo>
                    <a:pt x="17898" y="7626"/>
                  </a:lnTo>
                  <a:cubicBezTo>
                    <a:pt x="17898" y="7626"/>
                    <a:pt x="17606" y="7764"/>
                    <a:pt x="17692" y="7626"/>
                  </a:cubicBezTo>
                  <a:lnTo>
                    <a:pt x="17692" y="7626"/>
                  </a:lnTo>
                  <a:cubicBezTo>
                    <a:pt x="17692" y="7626"/>
                    <a:pt x="17692" y="7712"/>
                    <a:pt x="17537" y="7729"/>
                  </a:cubicBezTo>
                  <a:lnTo>
                    <a:pt x="17537" y="7729"/>
                  </a:lnTo>
                  <a:cubicBezTo>
                    <a:pt x="17537" y="7729"/>
                    <a:pt x="17417" y="7729"/>
                    <a:pt x="17537" y="7729"/>
                  </a:cubicBezTo>
                  <a:cubicBezTo>
                    <a:pt x="17222" y="8004"/>
                    <a:pt x="16845" y="8199"/>
                    <a:pt x="16438" y="8296"/>
                  </a:cubicBezTo>
                  <a:cubicBezTo>
                    <a:pt x="16466" y="8278"/>
                    <a:pt x="16495" y="8261"/>
                    <a:pt x="16524" y="8245"/>
                  </a:cubicBezTo>
                  <a:lnTo>
                    <a:pt x="16524" y="8245"/>
                  </a:lnTo>
                  <a:lnTo>
                    <a:pt x="16661" y="8125"/>
                  </a:lnTo>
                  <a:lnTo>
                    <a:pt x="16661" y="8125"/>
                  </a:lnTo>
                  <a:cubicBezTo>
                    <a:pt x="16661" y="8125"/>
                    <a:pt x="16490" y="8210"/>
                    <a:pt x="16661" y="8125"/>
                  </a:cubicBezTo>
                  <a:cubicBezTo>
                    <a:pt x="16557" y="8250"/>
                    <a:pt x="16436" y="8360"/>
                    <a:pt x="16301" y="8451"/>
                  </a:cubicBezTo>
                  <a:lnTo>
                    <a:pt x="16404" y="8296"/>
                  </a:lnTo>
                  <a:cubicBezTo>
                    <a:pt x="16404" y="8296"/>
                    <a:pt x="16404" y="8382"/>
                    <a:pt x="16283" y="8399"/>
                  </a:cubicBezTo>
                  <a:cubicBezTo>
                    <a:pt x="16163" y="8417"/>
                    <a:pt x="16283" y="8399"/>
                    <a:pt x="16283" y="8399"/>
                  </a:cubicBezTo>
                  <a:lnTo>
                    <a:pt x="16283" y="8399"/>
                  </a:lnTo>
                  <a:lnTo>
                    <a:pt x="16438" y="8279"/>
                  </a:lnTo>
                  <a:cubicBezTo>
                    <a:pt x="16438" y="8279"/>
                    <a:pt x="16335" y="8279"/>
                    <a:pt x="16438" y="8279"/>
                  </a:cubicBezTo>
                  <a:lnTo>
                    <a:pt x="16438" y="8279"/>
                  </a:lnTo>
                  <a:lnTo>
                    <a:pt x="16438" y="8279"/>
                  </a:lnTo>
                  <a:cubicBezTo>
                    <a:pt x="16260" y="8438"/>
                    <a:pt x="16057" y="8566"/>
                    <a:pt x="15837" y="8657"/>
                  </a:cubicBezTo>
                  <a:lnTo>
                    <a:pt x="15837" y="8657"/>
                  </a:lnTo>
                  <a:cubicBezTo>
                    <a:pt x="15510" y="8846"/>
                    <a:pt x="15837" y="8520"/>
                    <a:pt x="15837" y="8365"/>
                  </a:cubicBezTo>
                  <a:cubicBezTo>
                    <a:pt x="15545" y="8537"/>
                    <a:pt x="15614" y="8846"/>
                    <a:pt x="15287" y="8932"/>
                  </a:cubicBezTo>
                  <a:lnTo>
                    <a:pt x="15287" y="8932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841" y="9138"/>
                  </a:cubicBezTo>
                  <a:lnTo>
                    <a:pt x="14841" y="9138"/>
                  </a:lnTo>
                  <a:lnTo>
                    <a:pt x="14841" y="9138"/>
                  </a:lnTo>
                  <a:cubicBezTo>
                    <a:pt x="14841" y="9138"/>
                    <a:pt x="14841" y="9138"/>
                    <a:pt x="14961" y="9035"/>
                  </a:cubicBezTo>
                  <a:cubicBezTo>
                    <a:pt x="15081" y="8932"/>
                    <a:pt x="14841" y="9035"/>
                    <a:pt x="14806" y="9121"/>
                  </a:cubicBezTo>
                  <a:cubicBezTo>
                    <a:pt x="14849" y="9096"/>
                    <a:pt x="14884" y="9060"/>
                    <a:pt x="14909" y="9018"/>
                  </a:cubicBezTo>
                  <a:cubicBezTo>
                    <a:pt x="14909" y="9018"/>
                    <a:pt x="14514" y="9344"/>
                    <a:pt x="14686" y="9138"/>
                  </a:cubicBezTo>
                  <a:lnTo>
                    <a:pt x="14531" y="9258"/>
                  </a:lnTo>
                  <a:cubicBezTo>
                    <a:pt x="14601" y="9111"/>
                    <a:pt x="14687" y="8973"/>
                    <a:pt x="14789" y="8846"/>
                  </a:cubicBezTo>
                  <a:lnTo>
                    <a:pt x="14789" y="8846"/>
                  </a:lnTo>
                  <a:lnTo>
                    <a:pt x="14789" y="8846"/>
                  </a:lnTo>
                  <a:lnTo>
                    <a:pt x="14703" y="8949"/>
                  </a:lnTo>
                  <a:cubicBezTo>
                    <a:pt x="14909" y="8794"/>
                    <a:pt x="14600" y="9138"/>
                    <a:pt x="14549" y="9121"/>
                  </a:cubicBezTo>
                  <a:lnTo>
                    <a:pt x="14686" y="9121"/>
                  </a:lnTo>
                  <a:cubicBezTo>
                    <a:pt x="14549" y="9361"/>
                    <a:pt x="13999" y="9653"/>
                    <a:pt x="14411" y="9121"/>
                  </a:cubicBezTo>
                  <a:cubicBezTo>
                    <a:pt x="14274" y="9207"/>
                    <a:pt x="14205" y="9361"/>
                    <a:pt x="14085" y="9447"/>
                  </a:cubicBezTo>
                  <a:lnTo>
                    <a:pt x="14085" y="9447"/>
                  </a:lnTo>
                  <a:lnTo>
                    <a:pt x="14085" y="9447"/>
                  </a:lnTo>
                  <a:lnTo>
                    <a:pt x="14085" y="9447"/>
                  </a:lnTo>
                  <a:lnTo>
                    <a:pt x="13930" y="9585"/>
                  </a:lnTo>
                  <a:cubicBezTo>
                    <a:pt x="13930" y="9585"/>
                    <a:pt x="13930" y="9585"/>
                    <a:pt x="13930" y="9585"/>
                  </a:cubicBezTo>
                  <a:cubicBezTo>
                    <a:pt x="13930" y="9585"/>
                    <a:pt x="13810" y="9585"/>
                    <a:pt x="13776" y="9585"/>
                  </a:cubicBezTo>
                  <a:cubicBezTo>
                    <a:pt x="13741" y="9585"/>
                    <a:pt x="13260" y="9911"/>
                    <a:pt x="13123" y="9945"/>
                  </a:cubicBezTo>
                  <a:lnTo>
                    <a:pt x="13123" y="9945"/>
                  </a:lnTo>
                  <a:cubicBezTo>
                    <a:pt x="12737" y="10291"/>
                    <a:pt x="12330" y="10612"/>
                    <a:pt x="11903" y="10907"/>
                  </a:cubicBezTo>
                  <a:cubicBezTo>
                    <a:pt x="12900" y="10254"/>
                    <a:pt x="11749" y="11405"/>
                    <a:pt x="11525" y="11405"/>
                  </a:cubicBezTo>
                  <a:cubicBezTo>
                    <a:pt x="11972" y="11405"/>
                    <a:pt x="11732" y="11783"/>
                    <a:pt x="11525" y="12092"/>
                  </a:cubicBezTo>
                  <a:lnTo>
                    <a:pt x="11525" y="12092"/>
                  </a:lnTo>
                  <a:cubicBezTo>
                    <a:pt x="11512" y="12253"/>
                    <a:pt x="11471" y="12409"/>
                    <a:pt x="11405" y="12556"/>
                  </a:cubicBezTo>
                  <a:cubicBezTo>
                    <a:pt x="11525" y="12556"/>
                    <a:pt x="11508" y="12693"/>
                    <a:pt x="11629" y="12693"/>
                  </a:cubicBezTo>
                  <a:lnTo>
                    <a:pt x="11629" y="12693"/>
                  </a:lnTo>
                  <a:cubicBezTo>
                    <a:pt x="11143" y="13178"/>
                    <a:pt x="10727" y="13727"/>
                    <a:pt x="10392" y="14325"/>
                  </a:cubicBezTo>
                  <a:cubicBezTo>
                    <a:pt x="10598" y="14325"/>
                    <a:pt x="10546" y="14325"/>
                    <a:pt x="10753" y="14188"/>
                  </a:cubicBezTo>
                  <a:cubicBezTo>
                    <a:pt x="10753" y="14274"/>
                    <a:pt x="10546" y="14445"/>
                    <a:pt x="10649" y="14514"/>
                  </a:cubicBezTo>
                  <a:cubicBezTo>
                    <a:pt x="11067" y="13670"/>
                    <a:pt x="11757" y="12992"/>
                    <a:pt x="12608" y="12590"/>
                  </a:cubicBezTo>
                  <a:cubicBezTo>
                    <a:pt x="13106" y="12024"/>
                    <a:pt x="13484" y="11337"/>
                    <a:pt x="13999" y="11148"/>
                  </a:cubicBezTo>
                  <a:lnTo>
                    <a:pt x="13999" y="11148"/>
                  </a:lnTo>
                  <a:cubicBezTo>
                    <a:pt x="14085" y="11148"/>
                    <a:pt x="14119" y="10976"/>
                    <a:pt x="14205" y="10976"/>
                  </a:cubicBezTo>
                  <a:cubicBezTo>
                    <a:pt x="14291" y="10976"/>
                    <a:pt x="14205" y="10873"/>
                    <a:pt x="14325" y="10856"/>
                  </a:cubicBezTo>
                  <a:cubicBezTo>
                    <a:pt x="14446" y="10838"/>
                    <a:pt x="15493" y="9808"/>
                    <a:pt x="15081" y="10409"/>
                  </a:cubicBezTo>
                  <a:cubicBezTo>
                    <a:pt x="15081" y="10409"/>
                    <a:pt x="15253" y="10409"/>
                    <a:pt x="15201" y="10409"/>
                  </a:cubicBezTo>
                  <a:lnTo>
                    <a:pt x="15201" y="10409"/>
                  </a:lnTo>
                  <a:cubicBezTo>
                    <a:pt x="15510" y="10409"/>
                    <a:pt x="15201" y="10409"/>
                    <a:pt x="15304" y="10564"/>
                  </a:cubicBezTo>
                  <a:cubicBezTo>
                    <a:pt x="15407" y="10718"/>
                    <a:pt x="15201" y="10649"/>
                    <a:pt x="15167" y="10701"/>
                  </a:cubicBezTo>
                  <a:lnTo>
                    <a:pt x="15167" y="10701"/>
                  </a:lnTo>
                  <a:cubicBezTo>
                    <a:pt x="15167" y="10701"/>
                    <a:pt x="15167" y="10804"/>
                    <a:pt x="15167" y="10856"/>
                  </a:cubicBezTo>
                  <a:lnTo>
                    <a:pt x="15167" y="10856"/>
                  </a:lnTo>
                  <a:cubicBezTo>
                    <a:pt x="15167" y="10856"/>
                    <a:pt x="15167" y="10941"/>
                    <a:pt x="15167" y="10941"/>
                  </a:cubicBezTo>
                  <a:lnTo>
                    <a:pt x="15167" y="10941"/>
                  </a:lnTo>
                  <a:cubicBezTo>
                    <a:pt x="15167" y="10941"/>
                    <a:pt x="15167" y="11027"/>
                    <a:pt x="15047" y="11079"/>
                  </a:cubicBez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lnTo>
                    <a:pt x="15047" y="11079"/>
                  </a:lnTo>
                  <a:cubicBezTo>
                    <a:pt x="15201" y="11079"/>
                    <a:pt x="15047" y="11165"/>
                    <a:pt x="15047" y="11216"/>
                  </a:cubicBezTo>
                  <a:cubicBezTo>
                    <a:pt x="15047" y="11268"/>
                    <a:pt x="15150" y="11113"/>
                    <a:pt x="15201" y="11130"/>
                  </a:cubicBezTo>
                  <a:cubicBezTo>
                    <a:pt x="15253" y="11148"/>
                    <a:pt x="14909" y="11337"/>
                    <a:pt x="14789" y="11508"/>
                  </a:cubicBezTo>
                  <a:lnTo>
                    <a:pt x="14789" y="11508"/>
                  </a:lnTo>
                  <a:cubicBezTo>
                    <a:pt x="14789" y="11508"/>
                    <a:pt x="14652" y="11629"/>
                    <a:pt x="14583" y="11508"/>
                  </a:cubicBezTo>
                  <a:cubicBezTo>
                    <a:pt x="14772" y="11680"/>
                    <a:pt x="14308" y="12041"/>
                    <a:pt x="14325" y="11989"/>
                  </a:cubicBezTo>
                  <a:cubicBezTo>
                    <a:pt x="14342" y="11938"/>
                    <a:pt x="14325" y="12144"/>
                    <a:pt x="14325" y="11989"/>
                  </a:cubicBezTo>
                  <a:cubicBezTo>
                    <a:pt x="14325" y="11835"/>
                    <a:pt x="14119" y="12264"/>
                    <a:pt x="14016" y="12367"/>
                  </a:cubicBezTo>
                  <a:cubicBezTo>
                    <a:pt x="14291" y="12178"/>
                    <a:pt x="14360" y="12144"/>
                    <a:pt x="14016" y="12367"/>
                  </a:cubicBezTo>
                  <a:cubicBezTo>
                    <a:pt x="14016" y="12367"/>
                    <a:pt x="14308" y="12127"/>
                    <a:pt x="14308" y="12230"/>
                  </a:cubicBezTo>
                  <a:cubicBezTo>
                    <a:pt x="14308" y="12333"/>
                    <a:pt x="14463" y="12109"/>
                    <a:pt x="14549" y="12075"/>
                  </a:cubicBezTo>
                  <a:cubicBezTo>
                    <a:pt x="14564" y="12131"/>
                    <a:pt x="14564" y="12191"/>
                    <a:pt x="14549" y="12247"/>
                  </a:cubicBezTo>
                  <a:cubicBezTo>
                    <a:pt x="14549" y="12161"/>
                    <a:pt x="14961" y="11800"/>
                    <a:pt x="14995" y="11921"/>
                  </a:cubicBezTo>
                  <a:cubicBezTo>
                    <a:pt x="15030" y="12041"/>
                    <a:pt x="14995" y="11921"/>
                    <a:pt x="14995" y="11921"/>
                  </a:cubicBezTo>
                  <a:cubicBezTo>
                    <a:pt x="14995" y="11921"/>
                    <a:pt x="14995" y="11817"/>
                    <a:pt x="15133" y="11817"/>
                  </a:cubicBezTo>
                  <a:lnTo>
                    <a:pt x="15133" y="11817"/>
                  </a:lnTo>
                  <a:cubicBezTo>
                    <a:pt x="15133" y="11732"/>
                    <a:pt x="15579" y="11457"/>
                    <a:pt x="15442" y="11577"/>
                  </a:cubicBezTo>
                  <a:lnTo>
                    <a:pt x="15442" y="11577"/>
                  </a:lnTo>
                  <a:cubicBezTo>
                    <a:pt x="15442" y="11577"/>
                    <a:pt x="15442" y="11697"/>
                    <a:pt x="15322" y="11697"/>
                  </a:cubicBezTo>
                  <a:cubicBezTo>
                    <a:pt x="15201" y="11697"/>
                    <a:pt x="15322" y="11697"/>
                    <a:pt x="15322" y="11783"/>
                  </a:cubicBezTo>
                  <a:lnTo>
                    <a:pt x="15322" y="11783"/>
                  </a:lnTo>
                  <a:cubicBezTo>
                    <a:pt x="15218" y="11783"/>
                    <a:pt x="15322" y="11955"/>
                    <a:pt x="15150" y="12006"/>
                  </a:cubicBezTo>
                  <a:cubicBezTo>
                    <a:pt x="14978" y="12058"/>
                    <a:pt x="15150" y="12127"/>
                    <a:pt x="15150" y="12006"/>
                  </a:cubicBezTo>
                  <a:cubicBezTo>
                    <a:pt x="15150" y="11886"/>
                    <a:pt x="14789" y="12161"/>
                    <a:pt x="15150" y="12144"/>
                  </a:cubicBezTo>
                  <a:cubicBezTo>
                    <a:pt x="15510" y="12127"/>
                    <a:pt x="14961" y="12298"/>
                    <a:pt x="15150" y="12247"/>
                  </a:cubicBezTo>
                  <a:cubicBezTo>
                    <a:pt x="15339" y="12195"/>
                    <a:pt x="14995" y="12419"/>
                    <a:pt x="14978" y="12247"/>
                  </a:cubicBezTo>
                  <a:cubicBezTo>
                    <a:pt x="14961" y="12075"/>
                    <a:pt x="14978" y="12333"/>
                    <a:pt x="14978" y="12350"/>
                  </a:cubicBezTo>
                  <a:cubicBezTo>
                    <a:pt x="14978" y="12367"/>
                    <a:pt x="15098" y="12350"/>
                    <a:pt x="15150" y="12350"/>
                  </a:cubicBezTo>
                  <a:cubicBezTo>
                    <a:pt x="15201" y="12350"/>
                    <a:pt x="14961" y="12350"/>
                    <a:pt x="14892" y="12505"/>
                  </a:cubicBezTo>
                  <a:cubicBezTo>
                    <a:pt x="15133" y="12505"/>
                    <a:pt x="15047" y="12505"/>
                    <a:pt x="14892" y="12608"/>
                  </a:cubicBezTo>
                  <a:cubicBezTo>
                    <a:pt x="14738" y="12711"/>
                    <a:pt x="14892" y="12608"/>
                    <a:pt x="14995" y="12608"/>
                  </a:cubicBezTo>
                  <a:cubicBezTo>
                    <a:pt x="15011" y="12682"/>
                    <a:pt x="14963" y="12755"/>
                    <a:pt x="14889" y="12770"/>
                  </a:cubicBezTo>
                  <a:cubicBezTo>
                    <a:pt x="14861" y="12776"/>
                    <a:pt x="14832" y="12773"/>
                    <a:pt x="14806" y="12762"/>
                  </a:cubicBezTo>
                  <a:cubicBezTo>
                    <a:pt x="14806" y="12762"/>
                    <a:pt x="14961" y="12848"/>
                    <a:pt x="14806" y="12917"/>
                  </a:cubicBezTo>
                  <a:cubicBezTo>
                    <a:pt x="14995" y="13020"/>
                    <a:pt x="14600" y="13157"/>
                    <a:pt x="14566" y="13089"/>
                  </a:cubicBezTo>
                  <a:cubicBezTo>
                    <a:pt x="14531" y="13020"/>
                    <a:pt x="14566" y="13363"/>
                    <a:pt x="14411" y="13312"/>
                  </a:cubicBezTo>
                  <a:cubicBezTo>
                    <a:pt x="14257" y="13260"/>
                    <a:pt x="14669" y="13312"/>
                    <a:pt x="14531" y="13415"/>
                  </a:cubicBezTo>
                  <a:cubicBezTo>
                    <a:pt x="14394" y="13518"/>
                    <a:pt x="14531" y="13415"/>
                    <a:pt x="14531" y="13501"/>
                  </a:cubicBezTo>
                  <a:cubicBezTo>
                    <a:pt x="14531" y="13587"/>
                    <a:pt x="14531" y="13501"/>
                    <a:pt x="14531" y="13621"/>
                  </a:cubicBezTo>
                  <a:lnTo>
                    <a:pt x="14634" y="13621"/>
                  </a:lnTo>
                  <a:cubicBezTo>
                    <a:pt x="14634" y="13707"/>
                    <a:pt x="14428" y="13879"/>
                    <a:pt x="14325" y="13844"/>
                  </a:cubicBezTo>
                  <a:cubicBezTo>
                    <a:pt x="14222" y="13810"/>
                    <a:pt x="14480" y="13844"/>
                    <a:pt x="14549" y="13844"/>
                  </a:cubicBezTo>
                  <a:cubicBezTo>
                    <a:pt x="14325" y="14050"/>
                    <a:pt x="14549" y="13844"/>
                    <a:pt x="14549" y="13844"/>
                  </a:cubicBezTo>
                  <a:cubicBezTo>
                    <a:pt x="14549" y="13844"/>
                    <a:pt x="14549" y="13844"/>
                    <a:pt x="14394" y="13999"/>
                  </a:cubicBezTo>
                  <a:cubicBezTo>
                    <a:pt x="14394" y="13999"/>
                    <a:pt x="14686" y="13810"/>
                    <a:pt x="14549" y="13999"/>
                  </a:cubicBezTo>
                  <a:lnTo>
                    <a:pt x="14549" y="13999"/>
                  </a:lnTo>
                  <a:cubicBezTo>
                    <a:pt x="14549" y="13999"/>
                    <a:pt x="14463" y="14102"/>
                    <a:pt x="14446" y="14153"/>
                  </a:cubicBezTo>
                  <a:cubicBezTo>
                    <a:pt x="14428" y="14205"/>
                    <a:pt x="14755" y="14153"/>
                    <a:pt x="14549" y="14153"/>
                  </a:cubicBezTo>
                  <a:cubicBezTo>
                    <a:pt x="14806" y="14342"/>
                    <a:pt x="14205" y="14239"/>
                    <a:pt x="14119" y="14360"/>
                  </a:cubicBezTo>
                  <a:cubicBezTo>
                    <a:pt x="14566" y="14360"/>
                    <a:pt x="13982" y="14360"/>
                    <a:pt x="13896" y="14497"/>
                  </a:cubicBezTo>
                  <a:cubicBezTo>
                    <a:pt x="13870" y="14437"/>
                    <a:pt x="13870" y="14368"/>
                    <a:pt x="13896" y="14308"/>
                  </a:cubicBezTo>
                  <a:cubicBezTo>
                    <a:pt x="13896" y="14445"/>
                    <a:pt x="13896" y="14531"/>
                    <a:pt x="13793" y="14634"/>
                  </a:cubicBezTo>
                  <a:cubicBezTo>
                    <a:pt x="13982" y="14634"/>
                    <a:pt x="14188" y="14342"/>
                    <a:pt x="14428" y="14411"/>
                  </a:cubicBezTo>
                  <a:cubicBezTo>
                    <a:pt x="14308" y="14257"/>
                    <a:pt x="14806" y="14411"/>
                    <a:pt x="14428" y="14617"/>
                  </a:cubicBezTo>
                  <a:cubicBezTo>
                    <a:pt x="14428" y="14617"/>
                    <a:pt x="14428" y="14617"/>
                    <a:pt x="14428" y="14617"/>
                  </a:cubicBezTo>
                  <a:cubicBezTo>
                    <a:pt x="14428" y="14617"/>
                    <a:pt x="14703" y="14463"/>
                    <a:pt x="14566" y="14617"/>
                  </a:cubicBezTo>
                  <a:cubicBezTo>
                    <a:pt x="14428" y="14772"/>
                    <a:pt x="14669" y="14617"/>
                    <a:pt x="14652" y="14617"/>
                  </a:cubicBezTo>
                  <a:cubicBezTo>
                    <a:pt x="14634" y="14617"/>
                    <a:pt x="14652" y="14789"/>
                    <a:pt x="14497" y="14772"/>
                  </a:cubicBezTo>
                  <a:cubicBezTo>
                    <a:pt x="14600" y="14772"/>
                    <a:pt x="14360" y="14995"/>
                    <a:pt x="14360" y="14875"/>
                  </a:cubicBezTo>
                  <a:cubicBezTo>
                    <a:pt x="14360" y="14755"/>
                    <a:pt x="14549" y="15047"/>
                    <a:pt x="14360" y="15012"/>
                  </a:cubicBezTo>
                  <a:cubicBezTo>
                    <a:pt x="14583" y="15115"/>
                    <a:pt x="13879" y="15407"/>
                    <a:pt x="13844" y="15287"/>
                  </a:cubicBezTo>
                  <a:cubicBezTo>
                    <a:pt x="13810" y="15167"/>
                    <a:pt x="13724" y="15287"/>
                    <a:pt x="13844" y="15287"/>
                  </a:cubicBezTo>
                  <a:cubicBezTo>
                    <a:pt x="13381" y="15682"/>
                    <a:pt x="13003" y="15734"/>
                    <a:pt x="12590" y="15407"/>
                  </a:cubicBezTo>
                  <a:cubicBezTo>
                    <a:pt x="12590" y="15407"/>
                    <a:pt x="12213" y="15407"/>
                    <a:pt x="12247" y="15253"/>
                  </a:cubicBezTo>
                  <a:cubicBezTo>
                    <a:pt x="11629" y="15631"/>
                    <a:pt x="11062" y="16026"/>
                    <a:pt x="10426" y="16369"/>
                  </a:cubicBezTo>
                  <a:cubicBezTo>
                    <a:pt x="10849" y="16193"/>
                    <a:pt x="11326" y="16193"/>
                    <a:pt x="11749" y="16369"/>
                  </a:cubicBezTo>
                  <a:cubicBezTo>
                    <a:pt x="11704" y="16429"/>
                    <a:pt x="11645" y="16477"/>
                    <a:pt x="11577" y="16507"/>
                  </a:cubicBezTo>
                  <a:cubicBezTo>
                    <a:pt x="11749" y="16507"/>
                    <a:pt x="11354" y="16885"/>
                    <a:pt x="11577" y="16936"/>
                  </a:cubicBezTo>
                  <a:cubicBezTo>
                    <a:pt x="11405" y="17022"/>
                    <a:pt x="11732" y="17262"/>
                    <a:pt x="11835" y="17125"/>
                  </a:cubicBezTo>
                  <a:cubicBezTo>
                    <a:pt x="11835" y="17125"/>
                    <a:pt x="11972" y="17262"/>
                    <a:pt x="11835" y="17245"/>
                  </a:cubicBezTo>
                  <a:cubicBezTo>
                    <a:pt x="12075" y="17245"/>
                    <a:pt x="11182" y="17520"/>
                    <a:pt x="11251" y="17365"/>
                  </a:cubicBezTo>
                  <a:cubicBezTo>
                    <a:pt x="11101" y="17505"/>
                    <a:pt x="10940" y="17631"/>
                    <a:pt x="10770" y="17743"/>
                  </a:cubicBezTo>
                  <a:lnTo>
                    <a:pt x="10770" y="17743"/>
                  </a:lnTo>
                  <a:cubicBezTo>
                    <a:pt x="10667" y="17743"/>
                    <a:pt x="10770" y="17589"/>
                    <a:pt x="10770" y="17640"/>
                  </a:cubicBezTo>
                  <a:cubicBezTo>
                    <a:pt x="10770" y="17417"/>
                    <a:pt x="11371" y="16988"/>
                    <a:pt x="11371" y="17280"/>
                  </a:cubicBezTo>
                  <a:cubicBezTo>
                    <a:pt x="11371" y="17177"/>
                    <a:pt x="11491" y="17280"/>
                    <a:pt x="11543" y="17194"/>
                  </a:cubicBezTo>
                  <a:cubicBezTo>
                    <a:pt x="11233" y="17073"/>
                    <a:pt x="11233" y="17194"/>
                    <a:pt x="11543" y="16970"/>
                  </a:cubicBezTo>
                  <a:lnTo>
                    <a:pt x="11543" y="16970"/>
                  </a:lnTo>
                  <a:lnTo>
                    <a:pt x="11543" y="16970"/>
                  </a:lnTo>
                  <a:cubicBezTo>
                    <a:pt x="11543" y="17073"/>
                    <a:pt x="11045" y="17245"/>
                    <a:pt x="11233" y="16970"/>
                  </a:cubicBezTo>
                  <a:cubicBezTo>
                    <a:pt x="11096" y="17125"/>
                    <a:pt x="11045" y="17073"/>
                    <a:pt x="10924" y="16970"/>
                  </a:cubicBezTo>
                  <a:cubicBezTo>
                    <a:pt x="10804" y="16867"/>
                    <a:pt x="10924" y="17091"/>
                    <a:pt x="10924" y="17159"/>
                  </a:cubicBezTo>
                  <a:cubicBezTo>
                    <a:pt x="10924" y="17228"/>
                    <a:pt x="10924" y="17331"/>
                    <a:pt x="10924" y="17159"/>
                  </a:cubicBezTo>
                  <a:cubicBezTo>
                    <a:pt x="10924" y="16988"/>
                    <a:pt x="10598" y="17314"/>
                    <a:pt x="10667" y="17159"/>
                  </a:cubicBezTo>
                  <a:cubicBezTo>
                    <a:pt x="10735" y="17005"/>
                    <a:pt x="10478" y="17245"/>
                    <a:pt x="10667" y="17159"/>
                  </a:cubicBezTo>
                  <a:cubicBezTo>
                    <a:pt x="10856" y="17073"/>
                    <a:pt x="10546" y="17297"/>
                    <a:pt x="10478" y="17331"/>
                  </a:cubicBezTo>
                  <a:lnTo>
                    <a:pt x="10478" y="17331"/>
                  </a:lnTo>
                  <a:cubicBezTo>
                    <a:pt x="10478" y="17331"/>
                    <a:pt x="10478" y="17417"/>
                    <a:pt x="10478" y="17331"/>
                  </a:cubicBezTo>
                  <a:cubicBezTo>
                    <a:pt x="10478" y="17245"/>
                    <a:pt x="10357" y="17469"/>
                    <a:pt x="10478" y="17331"/>
                  </a:cubicBezTo>
                  <a:cubicBezTo>
                    <a:pt x="10254" y="17331"/>
                    <a:pt x="9722" y="18345"/>
                    <a:pt x="10083" y="18001"/>
                  </a:cubicBezTo>
                  <a:cubicBezTo>
                    <a:pt x="10083" y="18138"/>
                    <a:pt x="9842" y="18327"/>
                    <a:pt x="9911" y="18087"/>
                  </a:cubicBezTo>
                  <a:cubicBezTo>
                    <a:pt x="9773" y="18259"/>
                    <a:pt x="9791" y="18241"/>
                    <a:pt x="9808" y="18087"/>
                  </a:cubicBezTo>
                  <a:cubicBezTo>
                    <a:pt x="9360" y="18252"/>
                    <a:pt x="8984" y="18568"/>
                    <a:pt x="8743" y="18980"/>
                  </a:cubicBezTo>
                  <a:lnTo>
                    <a:pt x="8743" y="18980"/>
                  </a:lnTo>
                  <a:lnTo>
                    <a:pt x="8743" y="18980"/>
                  </a:lnTo>
                  <a:cubicBezTo>
                    <a:pt x="8743" y="18980"/>
                    <a:pt x="8743" y="18825"/>
                    <a:pt x="8743" y="18740"/>
                  </a:cubicBezTo>
                  <a:cubicBezTo>
                    <a:pt x="8605" y="18980"/>
                    <a:pt x="8588" y="19289"/>
                    <a:pt x="8365" y="19495"/>
                  </a:cubicBezTo>
                  <a:lnTo>
                    <a:pt x="8365" y="19495"/>
                  </a:lnTo>
                  <a:lnTo>
                    <a:pt x="8262" y="19650"/>
                  </a:lnTo>
                  <a:cubicBezTo>
                    <a:pt x="8298" y="19536"/>
                    <a:pt x="8356" y="19431"/>
                    <a:pt x="8434" y="19341"/>
                  </a:cubicBezTo>
                  <a:cubicBezTo>
                    <a:pt x="8434" y="19341"/>
                    <a:pt x="8434" y="19255"/>
                    <a:pt x="8434" y="19221"/>
                  </a:cubicBezTo>
                  <a:lnTo>
                    <a:pt x="8434" y="19221"/>
                  </a:lnTo>
                  <a:cubicBezTo>
                    <a:pt x="8434" y="19014"/>
                    <a:pt x="8605" y="18860"/>
                    <a:pt x="8674" y="18671"/>
                  </a:cubicBezTo>
                  <a:cubicBezTo>
                    <a:pt x="8545" y="18838"/>
                    <a:pt x="8441" y="19023"/>
                    <a:pt x="8365" y="19221"/>
                  </a:cubicBezTo>
                  <a:cubicBezTo>
                    <a:pt x="8365" y="19117"/>
                    <a:pt x="8365" y="19032"/>
                    <a:pt x="8365" y="18929"/>
                  </a:cubicBezTo>
                  <a:cubicBezTo>
                    <a:pt x="8365" y="18825"/>
                    <a:pt x="8365" y="19581"/>
                    <a:pt x="8365" y="19324"/>
                  </a:cubicBezTo>
                  <a:cubicBezTo>
                    <a:pt x="8365" y="19324"/>
                    <a:pt x="8365" y="19598"/>
                    <a:pt x="8365" y="19530"/>
                  </a:cubicBezTo>
                  <a:cubicBezTo>
                    <a:pt x="8365" y="19461"/>
                    <a:pt x="8365" y="19616"/>
                    <a:pt x="8365" y="19650"/>
                  </a:cubicBezTo>
                  <a:cubicBezTo>
                    <a:pt x="8374" y="19605"/>
                    <a:pt x="8374" y="19558"/>
                    <a:pt x="8365" y="19513"/>
                  </a:cubicBezTo>
                  <a:cubicBezTo>
                    <a:pt x="8365" y="19650"/>
                    <a:pt x="8502" y="19719"/>
                    <a:pt x="8365" y="19856"/>
                  </a:cubicBezTo>
                  <a:lnTo>
                    <a:pt x="8365" y="19856"/>
                  </a:lnTo>
                  <a:cubicBezTo>
                    <a:pt x="8365" y="19993"/>
                    <a:pt x="8176" y="20148"/>
                    <a:pt x="8210" y="19976"/>
                  </a:cubicBezTo>
                  <a:cubicBezTo>
                    <a:pt x="8245" y="19805"/>
                    <a:pt x="8210" y="20079"/>
                    <a:pt x="8210" y="20097"/>
                  </a:cubicBezTo>
                  <a:cubicBezTo>
                    <a:pt x="8210" y="20114"/>
                    <a:pt x="8296" y="20097"/>
                    <a:pt x="8313" y="20234"/>
                  </a:cubicBezTo>
                  <a:cubicBezTo>
                    <a:pt x="8304" y="20200"/>
                    <a:pt x="8304" y="20165"/>
                    <a:pt x="8313" y="20131"/>
                  </a:cubicBezTo>
                  <a:cubicBezTo>
                    <a:pt x="8313" y="20234"/>
                    <a:pt x="8313" y="20285"/>
                    <a:pt x="8176" y="20354"/>
                  </a:cubicBezTo>
                  <a:cubicBezTo>
                    <a:pt x="8039" y="20423"/>
                    <a:pt x="8176" y="20354"/>
                    <a:pt x="8176" y="20251"/>
                  </a:cubicBezTo>
                  <a:cubicBezTo>
                    <a:pt x="8176" y="20148"/>
                    <a:pt x="8176" y="20251"/>
                    <a:pt x="8176" y="20251"/>
                  </a:cubicBezTo>
                  <a:cubicBezTo>
                    <a:pt x="8176" y="20251"/>
                    <a:pt x="8176" y="20474"/>
                    <a:pt x="8176" y="20389"/>
                  </a:cubicBezTo>
                  <a:lnTo>
                    <a:pt x="8176" y="20389"/>
                  </a:lnTo>
                  <a:lnTo>
                    <a:pt x="8176" y="20389"/>
                  </a:lnTo>
                  <a:lnTo>
                    <a:pt x="8176" y="20389"/>
                  </a:lnTo>
                  <a:cubicBezTo>
                    <a:pt x="6991" y="20389"/>
                    <a:pt x="6458" y="2499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cubicBezTo>
                    <a:pt x="6579" y="22982"/>
                    <a:pt x="6579" y="22982"/>
                    <a:pt x="6579" y="22982"/>
                  </a:cubicBezTo>
                  <a:lnTo>
                    <a:pt x="6579" y="22982"/>
                  </a:lnTo>
                  <a:cubicBezTo>
                    <a:pt x="6579" y="22879"/>
                    <a:pt x="6579" y="22707"/>
                    <a:pt x="6579" y="22604"/>
                  </a:cubicBezTo>
                  <a:cubicBezTo>
                    <a:pt x="6579" y="22501"/>
                    <a:pt x="6579" y="22604"/>
                    <a:pt x="6579" y="22707"/>
                  </a:cubicBezTo>
                  <a:cubicBezTo>
                    <a:pt x="6579" y="22810"/>
                    <a:pt x="6853" y="21780"/>
                    <a:pt x="6579" y="21745"/>
                  </a:cubicBezTo>
                  <a:cubicBezTo>
                    <a:pt x="6304" y="21711"/>
                    <a:pt x="6476" y="21849"/>
                    <a:pt x="6579" y="21745"/>
                  </a:cubicBezTo>
                  <a:lnTo>
                    <a:pt x="6579" y="21745"/>
                  </a:lnTo>
                  <a:lnTo>
                    <a:pt x="6579" y="21745"/>
                  </a:lnTo>
                  <a:cubicBezTo>
                    <a:pt x="6579" y="21745"/>
                    <a:pt x="6579" y="21574"/>
                    <a:pt x="6579" y="21642"/>
                  </a:cubicBezTo>
                  <a:cubicBezTo>
                    <a:pt x="6587" y="21603"/>
                    <a:pt x="6587" y="21562"/>
                    <a:pt x="6579" y="21522"/>
                  </a:cubicBezTo>
                  <a:lnTo>
                    <a:pt x="6579" y="21522"/>
                  </a:lnTo>
                  <a:cubicBezTo>
                    <a:pt x="6579" y="21522"/>
                    <a:pt x="6579" y="21436"/>
                    <a:pt x="6579" y="21385"/>
                  </a:cubicBezTo>
                  <a:lnTo>
                    <a:pt x="6579" y="21385"/>
                  </a:ln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385"/>
                    <a:pt x="6579" y="21385"/>
                  </a:cubicBezTo>
                  <a:cubicBezTo>
                    <a:pt x="6579" y="21385"/>
                    <a:pt x="6579" y="21282"/>
                    <a:pt x="6579" y="21230"/>
                  </a:cubicBezTo>
                  <a:lnTo>
                    <a:pt x="6579" y="21333"/>
                  </a:lnTo>
                  <a:cubicBezTo>
                    <a:pt x="6579" y="21230"/>
                    <a:pt x="6390" y="21333"/>
                    <a:pt x="6373" y="21453"/>
                  </a:cubicBezTo>
                  <a:lnTo>
                    <a:pt x="6373" y="21453"/>
                  </a:lnTo>
                  <a:cubicBezTo>
                    <a:pt x="6373" y="21642"/>
                    <a:pt x="6373" y="21763"/>
                    <a:pt x="6373" y="21849"/>
                  </a:cubicBezTo>
                  <a:cubicBezTo>
                    <a:pt x="6373" y="21934"/>
                    <a:pt x="6373" y="21471"/>
                    <a:pt x="6373" y="21763"/>
                  </a:cubicBezTo>
                  <a:lnTo>
                    <a:pt x="6373" y="21660"/>
                  </a:lnTo>
                  <a:cubicBezTo>
                    <a:pt x="6373" y="21539"/>
                    <a:pt x="6373" y="21471"/>
                    <a:pt x="6373" y="21350"/>
                  </a:cubicBezTo>
                  <a:cubicBezTo>
                    <a:pt x="6373" y="21230"/>
                    <a:pt x="6373" y="21350"/>
                    <a:pt x="6373" y="21350"/>
                  </a:cubicBezTo>
                  <a:cubicBezTo>
                    <a:pt x="6373" y="21591"/>
                    <a:pt x="6373" y="21076"/>
                    <a:pt x="6184" y="21350"/>
                  </a:cubicBezTo>
                  <a:cubicBezTo>
                    <a:pt x="6184" y="21350"/>
                    <a:pt x="6184" y="21196"/>
                    <a:pt x="6184" y="21127"/>
                  </a:cubicBezTo>
                  <a:cubicBezTo>
                    <a:pt x="6184" y="21058"/>
                    <a:pt x="6184" y="21247"/>
                    <a:pt x="6184" y="21127"/>
                  </a:cubicBezTo>
                  <a:cubicBezTo>
                    <a:pt x="6193" y="21213"/>
                    <a:pt x="6193" y="21299"/>
                    <a:pt x="6184" y="21385"/>
                  </a:cubicBezTo>
                  <a:lnTo>
                    <a:pt x="6184" y="21385"/>
                  </a:lnTo>
                  <a:lnTo>
                    <a:pt x="6184" y="21505"/>
                  </a:lnTo>
                  <a:lnTo>
                    <a:pt x="6184" y="21505"/>
                  </a:lnTo>
                  <a:cubicBezTo>
                    <a:pt x="6184" y="21591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505"/>
                    <a:pt x="6184" y="21505"/>
                  </a:cubicBezTo>
                  <a:lnTo>
                    <a:pt x="6184" y="21505"/>
                  </a:lnTo>
                  <a:cubicBezTo>
                    <a:pt x="6184" y="21505"/>
                    <a:pt x="6184" y="21608"/>
                    <a:pt x="6184" y="21608"/>
                  </a:cubicBezTo>
                  <a:lnTo>
                    <a:pt x="6184" y="21608"/>
                  </a:lnTo>
                  <a:cubicBezTo>
                    <a:pt x="6085" y="21918"/>
                    <a:pt x="6005" y="22233"/>
                    <a:pt x="5943" y="22553"/>
                  </a:cubicBezTo>
                  <a:cubicBezTo>
                    <a:pt x="5943" y="22553"/>
                    <a:pt x="5943" y="22433"/>
                    <a:pt x="5943" y="22398"/>
                  </a:cubicBezTo>
                  <a:cubicBezTo>
                    <a:pt x="5943" y="22364"/>
                    <a:pt x="5840" y="22862"/>
                    <a:pt x="5943" y="22621"/>
                  </a:cubicBezTo>
                  <a:cubicBezTo>
                    <a:pt x="5838" y="23115"/>
                    <a:pt x="5758" y="23614"/>
                    <a:pt x="5703" y="24116"/>
                  </a:cubicBezTo>
                  <a:cubicBezTo>
                    <a:pt x="5668" y="24579"/>
                    <a:pt x="5668" y="25044"/>
                    <a:pt x="5703" y="25507"/>
                  </a:cubicBezTo>
                  <a:cubicBezTo>
                    <a:pt x="5703" y="25507"/>
                    <a:pt x="5703" y="25507"/>
                    <a:pt x="5703" y="25507"/>
                  </a:cubicBezTo>
                  <a:cubicBezTo>
                    <a:pt x="5709" y="25479"/>
                    <a:pt x="5709" y="25449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421"/>
                    <a:pt x="5703" y="25421"/>
                  </a:cubicBezTo>
                  <a:lnTo>
                    <a:pt x="5703" y="25421"/>
                  </a:lnTo>
                  <a:cubicBezTo>
                    <a:pt x="5703" y="25421"/>
                    <a:pt x="5703" y="25559"/>
                    <a:pt x="5703" y="25627"/>
                  </a:cubicBezTo>
                  <a:lnTo>
                    <a:pt x="5703" y="25627"/>
                  </a:lnTo>
                  <a:lnTo>
                    <a:pt x="5703" y="25627"/>
                  </a:lnTo>
                  <a:cubicBezTo>
                    <a:pt x="5711" y="25553"/>
                    <a:pt x="5711" y="25478"/>
                    <a:pt x="5703" y="25404"/>
                  </a:cubicBezTo>
                  <a:lnTo>
                    <a:pt x="5703" y="25404"/>
                  </a:lnTo>
                  <a:cubicBezTo>
                    <a:pt x="5857" y="25249"/>
                    <a:pt x="5703" y="24511"/>
                    <a:pt x="5995" y="24665"/>
                  </a:cubicBezTo>
                  <a:cubicBezTo>
                    <a:pt x="5995" y="24665"/>
                    <a:pt x="5995" y="24562"/>
                    <a:pt x="5995" y="24665"/>
                  </a:cubicBezTo>
                  <a:cubicBezTo>
                    <a:pt x="5995" y="24769"/>
                    <a:pt x="5995" y="24665"/>
                    <a:pt x="5995" y="24665"/>
                  </a:cubicBezTo>
                  <a:cubicBezTo>
                    <a:pt x="5995" y="24665"/>
                    <a:pt x="5995" y="24820"/>
                    <a:pt x="5995" y="24665"/>
                  </a:cubicBezTo>
                  <a:cubicBezTo>
                    <a:pt x="6098" y="24957"/>
                    <a:pt x="5806" y="25284"/>
                    <a:pt x="5857" y="25593"/>
                  </a:cubicBezTo>
                  <a:cubicBezTo>
                    <a:pt x="5857" y="25593"/>
                    <a:pt x="5857" y="25868"/>
                    <a:pt x="5857" y="25919"/>
                  </a:cubicBezTo>
                  <a:cubicBezTo>
                    <a:pt x="5814" y="26294"/>
                    <a:pt x="5476" y="26563"/>
                    <a:pt x="5101" y="26521"/>
                  </a:cubicBezTo>
                  <a:cubicBezTo>
                    <a:pt x="4727" y="26478"/>
                    <a:pt x="4457" y="26140"/>
                    <a:pt x="4500" y="25765"/>
                  </a:cubicBezTo>
                  <a:cubicBezTo>
                    <a:pt x="4500" y="25954"/>
                    <a:pt x="4500" y="26349"/>
                    <a:pt x="4397" y="26658"/>
                  </a:cubicBezTo>
                  <a:lnTo>
                    <a:pt x="4397" y="26658"/>
                  </a:lnTo>
                  <a:cubicBezTo>
                    <a:pt x="4380" y="26726"/>
                    <a:pt x="4380" y="26796"/>
                    <a:pt x="4397" y="26864"/>
                  </a:cubicBezTo>
                  <a:lnTo>
                    <a:pt x="4397" y="26864"/>
                  </a:lnTo>
                  <a:cubicBezTo>
                    <a:pt x="4397" y="26864"/>
                    <a:pt x="4397" y="26864"/>
                    <a:pt x="4397" y="26950"/>
                  </a:cubicBezTo>
                  <a:cubicBezTo>
                    <a:pt x="4397" y="27036"/>
                    <a:pt x="4603" y="27139"/>
                    <a:pt x="4586" y="26950"/>
                  </a:cubicBezTo>
                  <a:cubicBezTo>
                    <a:pt x="4586" y="27053"/>
                    <a:pt x="4586" y="27105"/>
                    <a:pt x="4724" y="27190"/>
                  </a:cubicBezTo>
                  <a:lnTo>
                    <a:pt x="4724" y="27190"/>
                  </a:lnTo>
                  <a:cubicBezTo>
                    <a:pt x="4738" y="27241"/>
                    <a:pt x="4738" y="27295"/>
                    <a:pt x="4724" y="27345"/>
                  </a:cubicBezTo>
                  <a:cubicBezTo>
                    <a:pt x="4724" y="27208"/>
                    <a:pt x="4724" y="27345"/>
                    <a:pt x="4724" y="27448"/>
                  </a:cubicBezTo>
                  <a:lnTo>
                    <a:pt x="4724" y="27448"/>
                  </a:lnTo>
                  <a:cubicBezTo>
                    <a:pt x="4767" y="27681"/>
                    <a:pt x="4767" y="27920"/>
                    <a:pt x="4724" y="28152"/>
                  </a:cubicBezTo>
                  <a:lnTo>
                    <a:pt x="4724" y="28152"/>
                  </a:lnTo>
                  <a:cubicBezTo>
                    <a:pt x="4732" y="28307"/>
                    <a:pt x="4732" y="28462"/>
                    <a:pt x="4724" y="28616"/>
                  </a:cubicBezTo>
                  <a:cubicBezTo>
                    <a:pt x="4724" y="28616"/>
                    <a:pt x="4724" y="28513"/>
                    <a:pt x="4724" y="28444"/>
                  </a:cubicBezTo>
                  <a:cubicBezTo>
                    <a:pt x="4715" y="28564"/>
                    <a:pt x="4715" y="28685"/>
                    <a:pt x="4724" y="28805"/>
                  </a:cubicBezTo>
                  <a:cubicBezTo>
                    <a:pt x="4734" y="28777"/>
                    <a:pt x="4734" y="28747"/>
                    <a:pt x="4724" y="28719"/>
                  </a:cubicBezTo>
                  <a:cubicBezTo>
                    <a:pt x="4697" y="28861"/>
                    <a:pt x="4697" y="29007"/>
                    <a:pt x="4724" y="29149"/>
                  </a:cubicBezTo>
                  <a:cubicBezTo>
                    <a:pt x="4724" y="29063"/>
                    <a:pt x="4947" y="30042"/>
                    <a:pt x="4930" y="29733"/>
                  </a:cubicBezTo>
                  <a:cubicBezTo>
                    <a:pt x="5136" y="30265"/>
                    <a:pt x="5170" y="29131"/>
                    <a:pt x="5634" y="30471"/>
                  </a:cubicBezTo>
                  <a:cubicBezTo>
                    <a:pt x="5634" y="30368"/>
                    <a:pt x="5634" y="29337"/>
                    <a:pt x="5960" y="29595"/>
                  </a:cubicBezTo>
                  <a:cubicBezTo>
                    <a:pt x="5960" y="29818"/>
                    <a:pt x="5960" y="29595"/>
                    <a:pt x="5960" y="29475"/>
                  </a:cubicBezTo>
                  <a:cubicBezTo>
                    <a:pt x="5960" y="29355"/>
                    <a:pt x="6252" y="29303"/>
                    <a:pt x="6355" y="29234"/>
                  </a:cubicBezTo>
                  <a:cubicBezTo>
                    <a:pt x="6476" y="29458"/>
                    <a:pt x="6355" y="29836"/>
                    <a:pt x="6355" y="30145"/>
                  </a:cubicBezTo>
                  <a:cubicBezTo>
                    <a:pt x="6630" y="30901"/>
                    <a:pt x="6355" y="29681"/>
                    <a:pt x="6665" y="29664"/>
                  </a:cubicBezTo>
                  <a:cubicBezTo>
                    <a:pt x="6974" y="29647"/>
                    <a:pt x="6527" y="29544"/>
                    <a:pt x="6665" y="29441"/>
                  </a:cubicBezTo>
                  <a:cubicBezTo>
                    <a:pt x="6802" y="29337"/>
                    <a:pt x="6665" y="29664"/>
                    <a:pt x="6785" y="29733"/>
                  </a:cubicBezTo>
                  <a:cubicBezTo>
                    <a:pt x="6933" y="29741"/>
                    <a:pt x="7051" y="29859"/>
                    <a:pt x="7060" y="30007"/>
                  </a:cubicBezTo>
                  <a:cubicBezTo>
                    <a:pt x="6939" y="30213"/>
                    <a:pt x="7352" y="30145"/>
                    <a:pt x="7472" y="30196"/>
                  </a:cubicBezTo>
                  <a:cubicBezTo>
                    <a:pt x="7558" y="30660"/>
                    <a:pt x="8090" y="30042"/>
                    <a:pt x="8262" y="30402"/>
                  </a:cubicBezTo>
                  <a:cubicBezTo>
                    <a:pt x="8004" y="30402"/>
                    <a:pt x="8073" y="30402"/>
                    <a:pt x="8262" y="30643"/>
                  </a:cubicBezTo>
                  <a:cubicBezTo>
                    <a:pt x="8262" y="30471"/>
                    <a:pt x="8863" y="31107"/>
                    <a:pt x="8434" y="31107"/>
                  </a:cubicBezTo>
                  <a:cubicBezTo>
                    <a:pt x="8885" y="31152"/>
                    <a:pt x="9220" y="31547"/>
                    <a:pt x="9189" y="32000"/>
                  </a:cubicBezTo>
                  <a:cubicBezTo>
                    <a:pt x="9189" y="31673"/>
                    <a:pt x="9550" y="32154"/>
                    <a:pt x="9550" y="32309"/>
                  </a:cubicBezTo>
                  <a:cubicBezTo>
                    <a:pt x="9464" y="32103"/>
                    <a:pt x="10461" y="32309"/>
                    <a:pt x="10220" y="32532"/>
                  </a:cubicBezTo>
                  <a:cubicBezTo>
                    <a:pt x="10443" y="32361"/>
                    <a:pt x="10976" y="33030"/>
                    <a:pt x="10856" y="33151"/>
                  </a:cubicBezTo>
                  <a:cubicBezTo>
                    <a:pt x="11010" y="32893"/>
                    <a:pt x="11130" y="33735"/>
                    <a:pt x="11302" y="33924"/>
                  </a:cubicBezTo>
                  <a:cubicBezTo>
                    <a:pt x="11474" y="34113"/>
                    <a:pt x="10976" y="34559"/>
                    <a:pt x="11045" y="34868"/>
                  </a:cubicBezTo>
                  <a:cubicBezTo>
                    <a:pt x="11045" y="34611"/>
                    <a:pt x="11233" y="34628"/>
                    <a:pt x="11148" y="34868"/>
                  </a:cubicBezTo>
                  <a:cubicBezTo>
                    <a:pt x="11148" y="34868"/>
                    <a:pt x="11268" y="34559"/>
                    <a:pt x="11337" y="34731"/>
                  </a:cubicBezTo>
                  <a:cubicBezTo>
                    <a:pt x="11405" y="34903"/>
                    <a:pt x="11337" y="34731"/>
                    <a:pt x="11337" y="34731"/>
                  </a:cubicBezTo>
                  <a:cubicBezTo>
                    <a:pt x="11337" y="34216"/>
                    <a:pt x="12401" y="35143"/>
                    <a:pt x="11337" y="35092"/>
                  </a:cubicBezTo>
                  <a:cubicBezTo>
                    <a:pt x="11749" y="35092"/>
                    <a:pt x="11543" y="35315"/>
                    <a:pt x="11680" y="35624"/>
                  </a:cubicBezTo>
                  <a:cubicBezTo>
                    <a:pt x="11543" y="35074"/>
                    <a:pt x="12075" y="34576"/>
                    <a:pt x="12419" y="35074"/>
                  </a:cubicBezTo>
                  <a:cubicBezTo>
                    <a:pt x="12419" y="35074"/>
                    <a:pt x="12608" y="35177"/>
                    <a:pt x="12642" y="35263"/>
                  </a:cubicBezTo>
                  <a:cubicBezTo>
                    <a:pt x="12676" y="35349"/>
                    <a:pt x="12986" y="35366"/>
                    <a:pt x="12882" y="35469"/>
                  </a:cubicBezTo>
                  <a:cubicBezTo>
                    <a:pt x="12779" y="35573"/>
                    <a:pt x="12882" y="35727"/>
                    <a:pt x="12968" y="35830"/>
                  </a:cubicBezTo>
                  <a:cubicBezTo>
                    <a:pt x="13054" y="35933"/>
                    <a:pt x="12968" y="35487"/>
                    <a:pt x="12968" y="35710"/>
                  </a:cubicBezTo>
                  <a:cubicBezTo>
                    <a:pt x="12968" y="35555"/>
                    <a:pt x="13106" y="35607"/>
                    <a:pt x="12968" y="35504"/>
                  </a:cubicBezTo>
                  <a:cubicBezTo>
                    <a:pt x="12831" y="35401"/>
                    <a:pt x="13363" y="35761"/>
                    <a:pt x="13363" y="35641"/>
                  </a:cubicBezTo>
                  <a:cubicBezTo>
                    <a:pt x="13363" y="35521"/>
                    <a:pt x="13363" y="35641"/>
                    <a:pt x="13466" y="35744"/>
                  </a:cubicBezTo>
                  <a:cubicBezTo>
                    <a:pt x="13569" y="35847"/>
                    <a:pt x="13466" y="35744"/>
                    <a:pt x="13466" y="35744"/>
                  </a:cubicBezTo>
                  <a:lnTo>
                    <a:pt x="13466" y="35744"/>
                  </a:lnTo>
                  <a:lnTo>
                    <a:pt x="13466" y="35744"/>
                  </a:lnTo>
                  <a:cubicBezTo>
                    <a:pt x="14841" y="36157"/>
                    <a:pt x="16438" y="37462"/>
                    <a:pt x="14926" y="38922"/>
                  </a:cubicBezTo>
                  <a:cubicBezTo>
                    <a:pt x="14926" y="38836"/>
                    <a:pt x="14926" y="38682"/>
                    <a:pt x="14926" y="38819"/>
                  </a:cubicBezTo>
                  <a:cubicBezTo>
                    <a:pt x="14926" y="38956"/>
                    <a:pt x="14823" y="38819"/>
                    <a:pt x="14806" y="38819"/>
                  </a:cubicBezTo>
                  <a:lnTo>
                    <a:pt x="14806" y="38819"/>
                  </a:lnTo>
                  <a:cubicBezTo>
                    <a:pt x="15133" y="39386"/>
                    <a:pt x="15717" y="41619"/>
                    <a:pt x="14806" y="41447"/>
                  </a:cubicBezTo>
                  <a:cubicBezTo>
                    <a:pt x="14806" y="41447"/>
                    <a:pt x="14514" y="41447"/>
                    <a:pt x="14806" y="41447"/>
                  </a:cubicBezTo>
                  <a:cubicBezTo>
                    <a:pt x="15098" y="41447"/>
                    <a:pt x="14652" y="41447"/>
                    <a:pt x="14600" y="41447"/>
                  </a:cubicBezTo>
                  <a:cubicBezTo>
                    <a:pt x="14549" y="41447"/>
                    <a:pt x="14600" y="41533"/>
                    <a:pt x="14600" y="41687"/>
                  </a:cubicBezTo>
                  <a:cubicBezTo>
                    <a:pt x="14360" y="41498"/>
                    <a:pt x="14257" y="41997"/>
                    <a:pt x="14154" y="41962"/>
                  </a:cubicBezTo>
                  <a:cubicBezTo>
                    <a:pt x="14050" y="41928"/>
                    <a:pt x="14154" y="41962"/>
                    <a:pt x="14154" y="41962"/>
                  </a:cubicBezTo>
                  <a:cubicBezTo>
                    <a:pt x="14154" y="41962"/>
                    <a:pt x="14291" y="42048"/>
                    <a:pt x="14154" y="42048"/>
                  </a:cubicBezTo>
                  <a:cubicBezTo>
                    <a:pt x="14016" y="42048"/>
                    <a:pt x="14154" y="42048"/>
                    <a:pt x="14154" y="42048"/>
                  </a:cubicBezTo>
                  <a:cubicBezTo>
                    <a:pt x="14154" y="42048"/>
                    <a:pt x="14446" y="42426"/>
                    <a:pt x="14411" y="42529"/>
                  </a:cubicBezTo>
                  <a:cubicBezTo>
                    <a:pt x="14377" y="42632"/>
                    <a:pt x="14411" y="43697"/>
                    <a:pt x="14411" y="43336"/>
                  </a:cubicBezTo>
                  <a:cubicBezTo>
                    <a:pt x="14411" y="43336"/>
                    <a:pt x="14411" y="43336"/>
                    <a:pt x="14411" y="43250"/>
                  </a:cubicBezTo>
                  <a:cubicBezTo>
                    <a:pt x="14411" y="43165"/>
                    <a:pt x="14411" y="43113"/>
                    <a:pt x="14411" y="43113"/>
                  </a:cubicBezTo>
                  <a:cubicBezTo>
                    <a:pt x="14338" y="43042"/>
                    <a:pt x="14257" y="42979"/>
                    <a:pt x="14171" y="42924"/>
                  </a:cubicBezTo>
                  <a:cubicBezTo>
                    <a:pt x="14231" y="42979"/>
                    <a:pt x="14283" y="43043"/>
                    <a:pt x="14325" y="43113"/>
                  </a:cubicBezTo>
                  <a:cubicBezTo>
                    <a:pt x="14325" y="43113"/>
                    <a:pt x="14446" y="43354"/>
                    <a:pt x="14325" y="43250"/>
                  </a:cubicBezTo>
                  <a:cubicBezTo>
                    <a:pt x="14858" y="44041"/>
                    <a:pt x="14325" y="44264"/>
                    <a:pt x="13844" y="43817"/>
                  </a:cubicBezTo>
                  <a:lnTo>
                    <a:pt x="14549" y="44418"/>
                  </a:lnTo>
                  <a:lnTo>
                    <a:pt x="14549" y="44418"/>
                  </a:lnTo>
                  <a:cubicBezTo>
                    <a:pt x="14637" y="44494"/>
                    <a:pt x="14707" y="44587"/>
                    <a:pt x="14755" y="44693"/>
                  </a:cubicBezTo>
                  <a:lnTo>
                    <a:pt x="14755" y="44693"/>
                  </a:lnTo>
                  <a:cubicBezTo>
                    <a:pt x="14755" y="44693"/>
                    <a:pt x="14944" y="44951"/>
                    <a:pt x="14755" y="44882"/>
                  </a:cubicBezTo>
                  <a:cubicBezTo>
                    <a:pt x="14566" y="44814"/>
                    <a:pt x="14394" y="44882"/>
                    <a:pt x="14291" y="44882"/>
                  </a:cubicBezTo>
                  <a:cubicBezTo>
                    <a:pt x="14188" y="44882"/>
                    <a:pt x="14480" y="45037"/>
                    <a:pt x="14566" y="45123"/>
                  </a:cubicBezTo>
                  <a:lnTo>
                    <a:pt x="14566" y="45123"/>
                  </a:lnTo>
                  <a:cubicBezTo>
                    <a:pt x="14909" y="45466"/>
                    <a:pt x="14995" y="45569"/>
                    <a:pt x="14463" y="45294"/>
                  </a:cubicBezTo>
                  <a:cubicBezTo>
                    <a:pt x="14621" y="45462"/>
                    <a:pt x="14807" y="45602"/>
                    <a:pt x="15012" y="45707"/>
                  </a:cubicBezTo>
                  <a:cubicBezTo>
                    <a:pt x="15012" y="45707"/>
                    <a:pt x="15012" y="45707"/>
                    <a:pt x="15012" y="45707"/>
                  </a:cubicBezTo>
                  <a:lnTo>
                    <a:pt x="15012" y="45707"/>
                  </a:lnTo>
                  <a:cubicBezTo>
                    <a:pt x="15304" y="45930"/>
                    <a:pt x="15133" y="45947"/>
                    <a:pt x="15717" y="46359"/>
                  </a:cubicBezTo>
                  <a:lnTo>
                    <a:pt x="15717" y="46359"/>
                  </a:lnTo>
                  <a:lnTo>
                    <a:pt x="15717" y="46359"/>
                  </a:lnTo>
                  <a:lnTo>
                    <a:pt x="15717" y="46359"/>
                  </a:lnTo>
                  <a:cubicBezTo>
                    <a:pt x="15991" y="46669"/>
                    <a:pt x="16438" y="46737"/>
                    <a:pt x="16730" y="47012"/>
                  </a:cubicBezTo>
                  <a:lnTo>
                    <a:pt x="16730" y="47012"/>
                  </a:lnTo>
                  <a:lnTo>
                    <a:pt x="16730" y="47012"/>
                  </a:lnTo>
                  <a:lnTo>
                    <a:pt x="16730" y="47012"/>
                  </a:lnTo>
                  <a:lnTo>
                    <a:pt x="16885" y="47132"/>
                  </a:lnTo>
                  <a:lnTo>
                    <a:pt x="16885" y="47132"/>
                  </a:lnTo>
                  <a:lnTo>
                    <a:pt x="17091" y="47270"/>
                  </a:lnTo>
                  <a:cubicBezTo>
                    <a:pt x="17091" y="47270"/>
                    <a:pt x="17091" y="47270"/>
                    <a:pt x="16988" y="47270"/>
                  </a:cubicBezTo>
                  <a:cubicBezTo>
                    <a:pt x="17278" y="47454"/>
                    <a:pt x="17582" y="47614"/>
                    <a:pt x="17898" y="47751"/>
                  </a:cubicBezTo>
                  <a:lnTo>
                    <a:pt x="17898" y="47751"/>
                  </a:lnTo>
                  <a:cubicBezTo>
                    <a:pt x="17795" y="47751"/>
                    <a:pt x="17898" y="47751"/>
                    <a:pt x="17898" y="47751"/>
                  </a:cubicBezTo>
                  <a:lnTo>
                    <a:pt x="17898" y="47751"/>
                  </a:lnTo>
                  <a:cubicBezTo>
                    <a:pt x="18059" y="47847"/>
                    <a:pt x="18225" y="47933"/>
                    <a:pt x="18396" y="48008"/>
                  </a:cubicBezTo>
                  <a:lnTo>
                    <a:pt x="18173" y="48008"/>
                  </a:lnTo>
                  <a:close/>
                  <a:moveTo>
                    <a:pt x="20560" y="10117"/>
                  </a:moveTo>
                  <a:cubicBezTo>
                    <a:pt x="20286" y="10409"/>
                    <a:pt x="20560" y="10014"/>
                    <a:pt x="20560" y="9980"/>
                  </a:cubicBezTo>
                  <a:cubicBezTo>
                    <a:pt x="20560" y="9945"/>
                    <a:pt x="20423" y="10134"/>
                    <a:pt x="20286" y="10323"/>
                  </a:cubicBezTo>
                  <a:cubicBezTo>
                    <a:pt x="19822" y="10083"/>
                    <a:pt x="19581" y="10976"/>
                    <a:pt x="19289" y="10907"/>
                  </a:cubicBezTo>
                  <a:cubicBezTo>
                    <a:pt x="19530" y="11165"/>
                    <a:pt x="19100" y="10907"/>
                    <a:pt x="19152" y="11165"/>
                  </a:cubicBezTo>
                  <a:cubicBezTo>
                    <a:pt x="19014" y="10959"/>
                    <a:pt x="19152" y="11165"/>
                    <a:pt x="19152" y="11165"/>
                  </a:cubicBezTo>
                  <a:cubicBezTo>
                    <a:pt x="19152" y="10907"/>
                    <a:pt x="19152" y="11457"/>
                    <a:pt x="18997" y="11165"/>
                  </a:cubicBezTo>
                  <a:cubicBezTo>
                    <a:pt x="18688" y="11165"/>
                    <a:pt x="18997" y="11577"/>
                    <a:pt x="18585" y="11577"/>
                  </a:cubicBezTo>
                  <a:cubicBezTo>
                    <a:pt x="18585" y="11577"/>
                    <a:pt x="18327" y="12024"/>
                    <a:pt x="18259" y="11903"/>
                  </a:cubicBezTo>
                  <a:cubicBezTo>
                    <a:pt x="18190" y="11783"/>
                    <a:pt x="17846" y="12453"/>
                    <a:pt x="18001" y="12109"/>
                  </a:cubicBezTo>
                  <a:cubicBezTo>
                    <a:pt x="17537" y="12401"/>
                    <a:pt x="18104" y="11938"/>
                    <a:pt x="17743" y="12006"/>
                  </a:cubicBezTo>
                  <a:cubicBezTo>
                    <a:pt x="18173" y="11680"/>
                    <a:pt x="18070" y="11749"/>
                    <a:pt x="17503" y="11783"/>
                  </a:cubicBezTo>
                  <a:cubicBezTo>
                    <a:pt x="17588" y="11313"/>
                    <a:pt x="17763" y="10864"/>
                    <a:pt x="18018" y="10461"/>
                  </a:cubicBezTo>
                  <a:cubicBezTo>
                    <a:pt x="18018" y="10220"/>
                    <a:pt x="18224" y="10461"/>
                    <a:pt x="18448" y="10134"/>
                  </a:cubicBezTo>
                  <a:cubicBezTo>
                    <a:pt x="17984" y="10306"/>
                    <a:pt x="17984" y="10134"/>
                    <a:pt x="18448" y="9739"/>
                  </a:cubicBezTo>
                  <a:cubicBezTo>
                    <a:pt x="18345" y="9739"/>
                    <a:pt x="18207" y="9739"/>
                    <a:pt x="18345" y="9739"/>
                  </a:cubicBezTo>
                  <a:cubicBezTo>
                    <a:pt x="18482" y="9739"/>
                    <a:pt x="18345" y="9636"/>
                    <a:pt x="18963" y="9344"/>
                  </a:cubicBezTo>
                  <a:cubicBezTo>
                    <a:pt x="17709" y="9808"/>
                    <a:pt x="19392" y="8966"/>
                    <a:pt x="18774" y="9104"/>
                  </a:cubicBezTo>
                  <a:cubicBezTo>
                    <a:pt x="19272" y="8657"/>
                    <a:pt x="19152" y="9293"/>
                    <a:pt x="19324" y="9104"/>
                  </a:cubicBezTo>
                  <a:cubicBezTo>
                    <a:pt x="18997" y="9104"/>
                    <a:pt x="19667" y="8863"/>
                    <a:pt x="19324" y="8966"/>
                  </a:cubicBezTo>
                  <a:cubicBezTo>
                    <a:pt x="19444" y="8846"/>
                    <a:pt x="19169" y="8966"/>
                    <a:pt x="18946" y="8966"/>
                  </a:cubicBezTo>
                  <a:cubicBezTo>
                    <a:pt x="19427" y="8537"/>
                    <a:pt x="19238" y="9086"/>
                    <a:pt x="19598" y="8674"/>
                  </a:cubicBezTo>
                  <a:cubicBezTo>
                    <a:pt x="19289" y="8846"/>
                    <a:pt x="19341" y="8554"/>
                    <a:pt x="19598" y="8674"/>
                  </a:cubicBezTo>
                  <a:cubicBezTo>
                    <a:pt x="19808" y="8533"/>
                    <a:pt x="20004" y="8372"/>
                    <a:pt x="20182" y="8193"/>
                  </a:cubicBezTo>
                  <a:cubicBezTo>
                    <a:pt x="19994" y="8193"/>
                    <a:pt x="20182" y="7266"/>
                    <a:pt x="20354" y="7953"/>
                  </a:cubicBezTo>
                  <a:cubicBezTo>
                    <a:pt x="20354" y="7953"/>
                    <a:pt x="20509" y="7712"/>
                    <a:pt x="20560" y="7764"/>
                  </a:cubicBezTo>
                  <a:cubicBezTo>
                    <a:pt x="20612" y="7815"/>
                    <a:pt x="21144" y="6991"/>
                    <a:pt x="20681" y="7386"/>
                  </a:cubicBezTo>
                  <a:cubicBezTo>
                    <a:pt x="20217" y="7781"/>
                    <a:pt x="21162" y="6922"/>
                    <a:pt x="21746" y="6338"/>
                  </a:cubicBezTo>
                  <a:cubicBezTo>
                    <a:pt x="23154" y="5256"/>
                    <a:pt x="21746" y="5497"/>
                    <a:pt x="22914" y="4981"/>
                  </a:cubicBezTo>
                  <a:cubicBezTo>
                    <a:pt x="23085" y="4981"/>
                    <a:pt x="23206" y="5067"/>
                    <a:pt x="23326" y="4844"/>
                  </a:cubicBezTo>
                  <a:cubicBezTo>
                    <a:pt x="26332" y="3556"/>
                    <a:pt x="25576" y="4260"/>
                    <a:pt x="26761" y="3693"/>
                  </a:cubicBezTo>
                  <a:cubicBezTo>
                    <a:pt x="26418" y="3882"/>
                    <a:pt x="26761" y="3693"/>
                    <a:pt x="26881" y="3693"/>
                  </a:cubicBezTo>
                  <a:cubicBezTo>
                    <a:pt x="26503" y="3951"/>
                    <a:pt x="26710" y="3693"/>
                    <a:pt x="26607" y="3951"/>
                  </a:cubicBezTo>
                  <a:cubicBezTo>
                    <a:pt x="26761" y="4140"/>
                    <a:pt x="25765" y="4243"/>
                    <a:pt x="26211" y="4208"/>
                  </a:cubicBezTo>
                  <a:cubicBezTo>
                    <a:pt x="26658" y="4174"/>
                    <a:pt x="26057" y="4346"/>
                    <a:pt x="26211" y="4329"/>
                  </a:cubicBezTo>
                  <a:cubicBezTo>
                    <a:pt x="26555" y="4054"/>
                    <a:pt x="26211" y="4483"/>
                    <a:pt x="26074" y="4500"/>
                  </a:cubicBezTo>
                  <a:cubicBezTo>
                    <a:pt x="25284" y="5119"/>
                    <a:pt x="27036" y="3744"/>
                    <a:pt x="26383" y="4621"/>
                  </a:cubicBezTo>
                  <a:cubicBezTo>
                    <a:pt x="26108" y="4844"/>
                    <a:pt x="25816" y="4861"/>
                    <a:pt x="26057" y="4947"/>
                  </a:cubicBezTo>
                  <a:cubicBezTo>
                    <a:pt x="25672" y="5283"/>
                    <a:pt x="25406" y="5735"/>
                    <a:pt x="25301" y="6235"/>
                  </a:cubicBezTo>
                  <a:cubicBezTo>
                    <a:pt x="25198" y="5874"/>
                    <a:pt x="24751" y="6424"/>
                    <a:pt x="25112" y="6373"/>
                  </a:cubicBezTo>
                  <a:cubicBezTo>
                    <a:pt x="24837" y="6596"/>
                    <a:pt x="25112" y="6373"/>
                    <a:pt x="25009" y="6596"/>
                  </a:cubicBezTo>
                  <a:cubicBezTo>
                    <a:pt x="24906" y="6819"/>
                    <a:pt x="24837" y="6596"/>
                    <a:pt x="24751" y="6596"/>
                  </a:cubicBezTo>
                  <a:cubicBezTo>
                    <a:pt x="24666" y="6596"/>
                    <a:pt x="24751" y="6957"/>
                    <a:pt x="24751" y="6768"/>
                  </a:cubicBezTo>
                  <a:cubicBezTo>
                    <a:pt x="24751" y="6871"/>
                    <a:pt x="25061" y="7128"/>
                    <a:pt x="24751" y="7180"/>
                  </a:cubicBezTo>
                  <a:cubicBezTo>
                    <a:pt x="24271" y="6750"/>
                    <a:pt x="24751" y="7575"/>
                    <a:pt x="24442" y="7489"/>
                  </a:cubicBezTo>
                  <a:cubicBezTo>
                    <a:pt x="23961" y="7729"/>
                    <a:pt x="24442" y="7060"/>
                    <a:pt x="24133" y="7489"/>
                  </a:cubicBezTo>
                  <a:cubicBezTo>
                    <a:pt x="24133" y="7283"/>
                    <a:pt x="23807" y="7609"/>
                    <a:pt x="23738" y="7626"/>
                  </a:cubicBezTo>
                  <a:cubicBezTo>
                    <a:pt x="24150" y="7626"/>
                    <a:pt x="23738" y="7764"/>
                    <a:pt x="23738" y="7781"/>
                  </a:cubicBezTo>
                  <a:cubicBezTo>
                    <a:pt x="24236" y="7781"/>
                    <a:pt x="23738" y="7918"/>
                    <a:pt x="23824" y="7987"/>
                  </a:cubicBezTo>
                  <a:cubicBezTo>
                    <a:pt x="24442" y="8090"/>
                    <a:pt x="23515" y="9705"/>
                    <a:pt x="23583" y="8262"/>
                  </a:cubicBezTo>
                  <a:cubicBezTo>
                    <a:pt x="23034" y="7901"/>
                    <a:pt x="23978" y="8657"/>
                    <a:pt x="23137" y="8520"/>
                  </a:cubicBezTo>
                  <a:cubicBezTo>
                    <a:pt x="23291" y="8640"/>
                    <a:pt x="22673" y="8777"/>
                    <a:pt x="22931" y="8726"/>
                  </a:cubicBezTo>
                  <a:cubicBezTo>
                    <a:pt x="23188" y="8674"/>
                    <a:pt x="23326" y="8915"/>
                    <a:pt x="22931" y="8846"/>
                  </a:cubicBezTo>
                  <a:cubicBezTo>
                    <a:pt x="22536" y="8777"/>
                    <a:pt x="24082" y="8846"/>
                    <a:pt x="23446" y="9121"/>
                  </a:cubicBezTo>
                  <a:cubicBezTo>
                    <a:pt x="23446" y="9121"/>
                    <a:pt x="23171" y="9327"/>
                    <a:pt x="23137" y="9275"/>
                  </a:cubicBezTo>
                  <a:cubicBezTo>
                    <a:pt x="23103" y="9224"/>
                    <a:pt x="21866" y="9859"/>
                    <a:pt x="21952" y="9396"/>
                  </a:cubicBezTo>
                  <a:cubicBezTo>
                    <a:pt x="22038" y="8932"/>
                    <a:pt x="21952" y="9636"/>
                    <a:pt x="21831" y="9653"/>
                  </a:cubicBezTo>
                  <a:cubicBezTo>
                    <a:pt x="21385" y="9688"/>
                    <a:pt x="20612" y="10529"/>
                    <a:pt x="20560" y="10117"/>
                  </a:cubicBezTo>
                  <a:close/>
                  <a:moveTo>
                    <a:pt x="23669" y="11440"/>
                  </a:moveTo>
                  <a:cubicBezTo>
                    <a:pt x="23669" y="11577"/>
                    <a:pt x="23463" y="11543"/>
                    <a:pt x="23412" y="11440"/>
                  </a:cubicBezTo>
                  <a:cubicBezTo>
                    <a:pt x="23360" y="11337"/>
                    <a:pt x="23223" y="11440"/>
                    <a:pt x="23274" y="11319"/>
                  </a:cubicBezTo>
                  <a:cubicBezTo>
                    <a:pt x="23326" y="11199"/>
                    <a:pt x="23188" y="11319"/>
                    <a:pt x="23274" y="11319"/>
                  </a:cubicBezTo>
                  <a:cubicBezTo>
                    <a:pt x="23173" y="11345"/>
                    <a:pt x="23067" y="11345"/>
                    <a:pt x="22965" y="11319"/>
                  </a:cubicBezTo>
                  <a:cubicBezTo>
                    <a:pt x="22965" y="11319"/>
                    <a:pt x="22965" y="11319"/>
                    <a:pt x="22965" y="11319"/>
                  </a:cubicBezTo>
                  <a:cubicBezTo>
                    <a:pt x="22965" y="11319"/>
                    <a:pt x="22965" y="11319"/>
                    <a:pt x="22965" y="11233"/>
                  </a:cubicBezTo>
                  <a:cubicBezTo>
                    <a:pt x="22965" y="11148"/>
                    <a:pt x="22965" y="11233"/>
                    <a:pt x="22965" y="11233"/>
                  </a:cubicBezTo>
                  <a:cubicBezTo>
                    <a:pt x="22965" y="11233"/>
                    <a:pt x="23120" y="11096"/>
                    <a:pt x="23206" y="11148"/>
                  </a:cubicBezTo>
                  <a:cubicBezTo>
                    <a:pt x="23291" y="11199"/>
                    <a:pt x="22948" y="11251"/>
                    <a:pt x="23206" y="11027"/>
                  </a:cubicBezTo>
                  <a:cubicBezTo>
                    <a:pt x="23206" y="11113"/>
                    <a:pt x="23051" y="11027"/>
                    <a:pt x="23206" y="10941"/>
                  </a:cubicBezTo>
                  <a:cubicBezTo>
                    <a:pt x="23360" y="10856"/>
                    <a:pt x="22948" y="10941"/>
                    <a:pt x="22948" y="10821"/>
                  </a:cubicBezTo>
                  <a:cubicBezTo>
                    <a:pt x="22948" y="10701"/>
                    <a:pt x="23206" y="10735"/>
                    <a:pt x="23223" y="10821"/>
                  </a:cubicBezTo>
                  <a:cubicBezTo>
                    <a:pt x="23240" y="10907"/>
                    <a:pt x="23395" y="10821"/>
                    <a:pt x="23412" y="10718"/>
                  </a:cubicBezTo>
                  <a:cubicBezTo>
                    <a:pt x="23429" y="10615"/>
                    <a:pt x="23291" y="10718"/>
                    <a:pt x="23412" y="10718"/>
                  </a:cubicBezTo>
                  <a:cubicBezTo>
                    <a:pt x="23532" y="10718"/>
                    <a:pt x="23291" y="10718"/>
                    <a:pt x="23412" y="10632"/>
                  </a:cubicBezTo>
                  <a:cubicBezTo>
                    <a:pt x="23532" y="10546"/>
                    <a:pt x="23412" y="10632"/>
                    <a:pt x="23412" y="10632"/>
                  </a:cubicBezTo>
                  <a:cubicBezTo>
                    <a:pt x="23412" y="10632"/>
                    <a:pt x="23412" y="10718"/>
                    <a:pt x="23412" y="10632"/>
                  </a:cubicBezTo>
                  <a:cubicBezTo>
                    <a:pt x="23412" y="10546"/>
                    <a:pt x="23412" y="10632"/>
                    <a:pt x="23412" y="10632"/>
                  </a:cubicBezTo>
                  <a:cubicBezTo>
                    <a:pt x="23223" y="10873"/>
                    <a:pt x="23120" y="10478"/>
                    <a:pt x="23291" y="10632"/>
                  </a:cubicBezTo>
                  <a:cubicBezTo>
                    <a:pt x="23463" y="10787"/>
                    <a:pt x="23291" y="10478"/>
                    <a:pt x="23291" y="10632"/>
                  </a:cubicBezTo>
                  <a:cubicBezTo>
                    <a:pt x="23291" y="10787"/>
                    <a:pt x="23291" y="10632"/>
                    <a:pt x="23291" y="10632"/>
                  </a:cubicBezTo>
                  <a:cubicBezTo>
                    <a:pt x="23291" y="10632"/>
                    <a:pt x="23291" y="10529"/>
                    <a:pt x="23291" y="10632"/>
                  </a:cubicBezTo>
                  <a:cubicBezTo>
                    <a:pt x="23291" y="10735"/>
                    <a:pt x="23291" y="10478"/>
                    <a:pt x="23291" y="10632"/>
                  </a:cubicBezTo>
                  <a:cubicBezTo>
                    <a:pt x="23291" y="10787"/>
                    <a:pt x="23412" y="10632"/>
                    <a:pt x="23291" y="10632"/>
                  </a:cubicBezTo>
                  <a:cubicBezTo>
                    <a:pt x="23171" y="10632"/>
                    <a:pt x="23395" y="10632"/>
                    <a:pt x="23291" y="10632"/>
                  </a:cubicBezTo>
                  <a:cubicBezTo>
                    <a:pt x="23188" y="10632"/>
                    <a:pt x="23120" y="10478"/>
                    <a:pt x="23291" y="10478"/>
                  </a:cubicBezTo>
                  <a:cubicBezTo>
                    <a:pt x="22999" y="10375"/>
                    <a:pt x="23395" y="10375"/>
                    <a:pt x="23291" y="10581"/>
                  </a:cubicBezTo>
                  <a:cubicBezTo>
                    <a:pt x="23291" y="10581"/>
                    <a:pt x="23291" y="10581"/>
                    <a:pt x="23291" y="10581"/>
                  </a:cubicBezTo>
                  <a:cubicBezTo>
                    <a:pt x="23291" y="10581"/>
                    <a:pt x="23291" y="10701"/>
                    <a:pt x="23291" y="10581"/>
                  </a:cubicBezTo>
                  <a:cubicBezTo>
                    <a:pt x="23302" y="10608"/>
                    <a:pt x="23302" y="10639"/>
                    <a:pt x="23291" y="10667"/>
                  </a:cubicBezTo>
                  <a:cubicBezTo>
                    <a:pt x="23291" y="10667"/>
                    <a:pt x="23291" y="10753"/>
                    <a:pt x="23291" y="10787"/>
                  </a:cubicBezTo>
                  <a:cubicBezTo>
                    <a:pt x="23291" y="10821"/>
                    <a:pt x="23291" y="10787"/>
                    <a:pt x="23291" y="10873"/>
                  </a:cubicBezTo>
                  <a:cubicBezTo>
                    <a:pt x="23311" y="10799"/>
                    <a:pt x="23361" y="10737"/>
                    <a:pt x="23429" y="10701"/>
                  </a:cubicBezTo>
                  <a:cubicBezTo>
                    <a:pt x="23429" y="10907"/>
                    <a:pt x="23429" y="10478"/>
                    <a:pt x="23601" y="10461"/>
                  </a:cubicBezTo>
                  <a:cubicBezTo>
                    <a:pt x="23772" y="10443"/>
                    <a:pt x="23601" y="10581"/>
                    <a:pt x="23601" y="10598"/>
                  </a:cubicBezTo>
                  <a:cubicBezTo>
                    <a:pt x="23601" y="10615"/>
                    <a:pt x="23687" y="10461"/>
                    <a:pt x="23790" y="10478"/>
                  </a:cubicBezTo>
                  <a:cubicBezTo>
                    <a:pt x="23832" y="10576"/>
                    <a:pt x="23832" y="10688"/>
                    <a:pt x="23790" y="10787"/>
                  </a:cubicBezTo>
                  <a:cubicBezTo>
                    <a:pt x="23893" y="10701"/>
                    <a:pt x="23790" y="10461"/>
                    <a:pt x="23961" y="10512"/>
                  </a:cubicBezTo>
                  <a:cubicBezTo>
                    <a:pt x="24133" y="10564"/>
                    <a:pt x="24116" y="10375"/>
                    <a:pt x="24099" y="10512"/>
                  </a:cubicBezTo>
                  <a:cubicBezTo>
                    <a:pt x="24082" y="10649"/>
                    <a:pt x="24356" y="10220"/>
                    <a:pt x="24322" y="10512"/>
                  </a:cubicBezTo>
                  <a:cubicBezTo>
                    <a:pt x="24288" y="10804"/>
                    <a:pt x="24442" y="10357"/>
                    <a:pt x="24528" y="10512"/>
                  </a:cubicBezTo>
                  <a:cubicBezTo>
                    <a:pt x="24614" y="10667"/>
                    <a:pt x="24356" y="10667"/>
                    <a:pt x="24528" y="10632"/>
                  </a:cubicBezTo>
                  <a:cubicBezTo>
                    <a:pt x="24700" y="10598"/>
                    <a:pt x="24425" y="10632"/>
                    <a:pt x="24528" y="10804"/>
                  </a:cubicBezTo>
                  <a:cubicBezTo>
                    <a:pt x="24631" y="10976"/>
                    <a:pt x="24528" y="10804"/>
                    <a:pt x="24528" y="10804"/>
                  </a:cubicBezTo>
                  <a:cubicBezTo>
                    <a:pt x="24751" y="10804"/>
                    <a:pt x="24614" y="10804"/>
                    <a:pt x="24528" y="10924"/>
                  </a:cubicBezTo>
                  <a:cubicBezTo>
                    <a:pt x="24442" y="11045"/>
                    <a:pt x="24528" y="11079"/>
                    <a:pt x="24528" y="11148"/>
                  </a:cubicBezTo>
                  <a:cubicBezTo>
                    <a:pt x="24374" y="10924"/>
                    <a:pt x="24528" y="11440"/>
                    <a:pt x="24288" y="11148"/>
                  </a:cubicBezTo>
                  <a:cubicBezTo>
                    <a:pt x="24288" y="11268"/>
                    <a:pt x="24064" y="11268"/>
                    <a:pt x="23978" y="11388"/>
                  </a:cubicBezTo>
                  <a:lnTo>
                    <a:pt x="23978" y="11388"/>
                  </a:lnTo>
                  <a:cubicBezTo>
                    <a:pt x="23978" y="11388"/>
                    <a:pt x="23841" y="11388"/>
                    <a:pt x="23790" y="11388"/>
                  </a:cubicBezTo>
                  <a:cubicBezTo>
                    <a:pt x="23738" y="11388"/>
                    <a:pt x="23790" y="11388"/>
                    <a:pt x="23790" y="11388"/>
                  </a:cubicBezTo>
                  <a:cubicBezTo>
                    <a:pt x="23790" y="11388"/>
                    <a:pt x="23738" y="11594"/>
                    <a:pt x="23669" y="11440"/>
                  </a:cubicBezTo>
                  <a:close/>
                  <a:moveTo>
                    <a:pt x="38184" y="41533"/>
                  </a:moveTo>
                  <a:cubicBezTo>
                    <a:pt x="38063" y="41224"/>
                    <a:pt x="38579" y="40880"/>
                    <a:pt x="38802" y="40640"/>
                  </a:cubicBezTo>
                  <a:cubicBezTo>
                    <a:pt x="39025" y="40399"/>
                    <a:pt x="39025" y="39729"/>
                    <a:pt x="39540" y="39523"/>
                  </a:cubicBezTo>
                  <a:lnTo>
                    <a:pt x="39540" y="39523"/>
                  </a:lnTo>
                  <a:cubicBezTo>
                    <a:pt x="39540" y="39523"/>
                    <a:pt x="39540" y="39523"/>
                    <a:pt x="39540" y="39523"/>
                  </a:cubicBezTo>
                  <a:cubicBezTo>
                    <a:pt x="39540" y="39523"/>
                    <a:pt x="39644" y="39523"/>
                    <a:pt x="39781" y="39386"/>
                  </a:cubicBezTo>
                  <a:cubicBezTo>
                    <a:pt x="39661" y="39678"/>
                    <a:pt x="40073" y="39077"/>
                    <a:pt x="39953" y="39386"/>
                  </a:cubicBezTo>
                  <a:cubicBezTo>
                    <a:pt x="39832" y="39695"/>
                    <a:pt x="39953" y="39386"/>
                    <a:pt x="39953" y="39386"/>
                  </a:cubicBezTo>
                  <a:cubicBezTo>
                    <a:pt x="39953" y="39386"/>
                    <a:pt x="39953" y="39386"/>
                    <a:pt x="39953" y="39248"/>
                  </a:cubicBezTo>
                  <a:cubicBezTo>
                    <a:pt x="39953" y="39111"/>
                    <a:pt x="40073" y="39248"/>
                    <a:pt x="39953" y="39248"/>
                  </a:cubicBezTo>
                  <a:lnTo>
                    <a:pt x="39953" y="39248"/>
                  </a:lnTo>
                  <a:cubicBezTo>
                    <a:pt x="39953" y="39248"/>
                    <a:pt x="39953" y="39248"/>
                    <a:pt x="39953" y="39369"/>
                  </a:cubicBezTo>
                  <a:cubicBezTo>
                    <a:pt x="39953" y="39489"/>
                    <a:pt x="40090" y="39197"/>
                    <a:pt x="40107" y="39266"/>
                  </a:cubicBezTo>
                  <a:cubicBezTo>
                    <a:pt x="40124" y="39334"/>
                    <a:pt x="40107" y="39266"/>
                    <a:pt x="40107" y="39145"/>
                  </a:cubicBezTo>
                  <a:cubicBezTo>
                    <a:pt x="40107" y="39025"/>
                    <a:pt x="40262" y="39145"/>
                    <a:pt x="40107" y="39042"/>
                  </a:cubicBezTo>
                  <a:cubicBezTo>
                    <a:pt x="39953" y="38939"/>
                    <a:pt x="40107" y="39145"/>
                    <a:pt x="40262" y="38939"/>
                  </a:cubicBezTo>
                  <a:cubicBezTo>
                    <a:pt x="40416" y="38733"/>
                    <a:pt x="40537" y="38733"/>
                    <a:pt x="40485" y="38561"/>
                  </a:cubicBezTo>
                  <a:cubicBezTo>
                    <a:pt x="40434" y="38389"/>
                    <a:pt x="40588" y="38561"/>
                    <a:pt x="40674" y="38441"/>
                  </a:cubicBezTo>
                  <a:cubicBezTo>
                    <a:pt x="40760" y="38321"/>
                    <a:pt x="40674" y="38664"/>
                    <a:pt x="40674" y="38664"/>
                  </a:cubicBezTo>
                  <a:cubicBezTo>
                    <a:pt x="41344" y="38922"/>
                    <a:pt x="37514" y="43560"/>
                    <a:pt x="38184" y="41533"/>
                  </a:cubicBezTo>
                  <a:close/>
                  <a:moveTo>
                    <a:pt x="49159" y="26589"/>
                  </a:moveTo>
                  <a:cubicBezTo>
                    <a:pt x="49159" y="26589"/>
                    <a:pt x="49159" y="26589"/>
                    <a:pt x="49159" y="26589"/>
                  </a:cubicBezTo>
                  <a:cubicBezTo>
                    <a:pt x="48810" y="27921"/>
                    <a:pt x="48552" y="29276"/>
                    <a:pt x="48386" y="30643"/>
                  </a:cubicBezTo>
                  <a:cubicBezTo>
                    <a:pt x="48386" y="30540"/>
                    <a:pt x="48215" y="30780"/>
                    <a:pt x="48215" y="30849"/>
                  </a:cubicBezTo>
                  <a:cubicBezTo>
                    <a:pt x="48026" y="31570"/>
                    <a:pt x="47579" y="26864"/>
                    <a:pt x="47613" y="26452"/>
                  </a:cubicBezTo>
                  <a:cubicBezTo>
                    <a:pt x="47459" y="26452"/>
                    <a:pt x="47613" y="26263"/>
                    <a:pt x="47613" y="26160"/>
                  </a:cubicBezTo>
                  <a:cubicBezTo>
                    <a:pt x="47613" y="26057"/>
                    <a:pt x="47528" y="26160"/>
                    <a:pt x="47528" y="26160"/>
                  </a:cubicBezTo>
                  <a:cubicBezTo>
                    <a:pt x="47528" y="26555"/>
                    <a:pt x="47373" y="27362"/>
                    <a:pt x="47098" y="26606"/>
                  </a:cubicBezTo>
                  <a:cubicBezTo>
                    <a:pt x="47098" y="26606"/>
                    <a:pt x="46909" y="26332"/>
                    <a:pt x="46995" y="26383"/>
                  </a:cubicBezTo>
                  <a:lnTo>
                    <a:pt x="46995" y="26383"/>
                  </a:lnTo>
                  <a:cubicBezTo>
                    <a:pt x="46995" y="26538"/>
                    <a:pt x="46995" y="26383"/>
                    <a:pt x="46995" y="26383"/>
                  </a:cubicBezTo>
                  <a:cubicBezTo>
                    <a:pt x="46995" y="26383"/>
                    <a:pt x="47201" y="26074"/>
                    <a:pt x="47081" y="26040"/>
                  </a:cubicBezTo>
                  <a:cubicBezTo>
                    <a:pt x="47081" y="26383"/>
                    <a:pt x="46583" y="26040"/>
                    <a:pt x="46806" y="25833"/>
                  </a:cubicBezTo>
                  <a:cubicBezTo>
                    <a:pt x="46806" y="25833"/>
                    <a:pt x="46806" y="25937"/>
                    <a:pt x="46686" y="25971"/>
                  </a:cubicBezTo>
                  <a:cubicBezTo>
                    <a:pt x="46566" y="26005"/>
                    <a:pt x="46686" y="25885"/>
                    <a:pt x="46549" y="25971"/>
                  </a:cubicBezTo>
                  <a:cubicBezTo>
                    <a:pt x="46411" y="26057"/>
                    <a:pt x="46549" y="25696"/>
                    <a:pt x="46428" y="25559"/>
                  </a:cubicBezTo>
                  <a:cubicBezTo>
                    <a:pt x="46239" y="25730"/>
                    <a:pt x="46428" y="25318"/>
                    <a:pt x="46119" y="25438"/>
                  </a:cubicBezTo>
                  <a:cubicBezTo>
                    <a:pt x="46119" y="25438"/>
                    <a:pt x="45965" y="25524"/>
                    <a:pt x="45913" y="25610"/>
                  </a:cubicBezTo>
                  <a:cubicBezTo>
                    <a:pt x="45861" y="25696"/>
                    <a:pt x="45810" y="25610"/>
                    <a:pt x="45741" y="25610"/>
                  </a:cubicBezTo>
                  <a:cubicBezTo>
                    <a:pt x="45673" y="25610"/>
                    <a:pt x="45604" y="25610"/>
                    <a:pt x="45552" y="25765"/>
                  </a:cubicBezTo>
                  <a:cubicBezTo>
                    <a:pt x="45501" y="25919"/>
                    <a:pt x="45552" y="25765"/>
                    <a:pt x="45432" y="25765"/>
                  </a:cubicBezTo>
                  <a:cubicBezTo>
                    <a:pt x="45312" y="25765"/>
                    <a:pt x="45260" y="25885"/>
                    <a:pt x="45209" y="25679"/>
                  </a:cubicBezTo>
                  <a:cubicBezTo>
                    <a:pt x="45209" y="25782"/>
                    <a:pt x="44814" y="25679"/>
                    <a:pt x="44728" y="25679"/>
                  </a:cubicBezTo>
                  <a:cubicBezTo>
                    <a:pt x="44642" y="25679"/>
                    <a:pt x="44573" y="25679"/>
                    <a:pt x="44453" y="25679"/>
                  </a:cubicBezTo>
                  <a:cubicBezTo>
                    <a:pt x="44178" y="24683"/>
                    <a:pt x="44144" y="25541"/>
                    <a:pt x="43663" y="25404"/>
                  </a:cubicBezTo>
                  <a:cubicBezTo>
                    <a:pt x="43560" y="25404"/>
                    <a:pt x="43251" y="25284"/>
                    <a:pt x="43285" y="25146"/>
                  </a:cubicBezTo>
                  <a:cubicBezTo>
                    <a:pt x="43319" y="25009"/>
                    <a:pt x="42838" y="25146"/>
                    <a:pt x="42804" y="24803"/>
                  </a:cubicBezTo>
                  <a:cubicBezTo>
                    <a:pt x="42804" y="24803"/>
                    <a:pt x="42684" y="24803"/>
                    <a:pt x="42804" y="24803"/>
                  </a:cubicBezTo>
                  <a:cubicBezTo>
                    <a:pt x="42632" y="24803"/>
                    <a:pt x="42564" y="24185"/>
                    <a:pt x="42375" y="24425"/>
                  </a:cubicBezTo>
                  <a:cubicBezTo>
                    <a:pt x="42375" y="24339"/>
                    <a:pt x="42220" y="24425"/>
                    <a:pt x="42272" y="24270"/>
                  </a:cubicBezTo>
                  <a:cubicBezTo>
                    <a:pt x="42323" y="24116"/>
                    <a:pt x="42272" y="24270"/>
                    <a:pt x="42272" y="24270"/>
                  </a:cubicBezTo>
                  <a:cubicBezTo>
                    <a:pt x="42272" y="24270"/>
                    <a:pt x="42272" y="24494"/>
                    <a:pt x="42272" y="24270"/>
                  </a:cubicBezTo>
                  <a:cubicBezTo>
                    <a:pt x="42272" y="24047"/>
                    <a:pt x="42272" y="24580"/>
                    <a:pt x="42100" y="24597"/>
                  </a:cubicBezTo>
                  <a:lnTo>
                    <a:pt x="42220" y="24597"/>
                  </a:lnTo>
                  <a:lnTo>
                    <a:pt x="42220" y="24597"/>
                  </a:lnTo>
                  <a:cubicBezTo>
                    <a:pt x="42220" y="24597"/>
                    <a:pt x="42220" y="24700"/>
                    <a:pt x="42220" y="24734"/>
                  </a:cubicBezTo>
                  <a:cubicBezTo>
                    <a:pt x="42220" y="24769"/>
                    <a:pt x="42220" y="24837"/>
                    <a:pt x="42220" y="24734"/>
                  </a:cubicBezTo>
                  <a:cubicBezTo>
                    <a:pt x="42259" y="24896"/>
                    <a:pt x="42365" y="25033"/>
                    <a:pt x="42512" y="25112"/>
                  </a:cubicBezTo>
                  <a:cubicBezTo>
                    <a:pt x="42512" y="25112"/>
                    <a:pt x="42821" y="25438"/>
                    <a:pt x="42770" y="25610"/>
                  </a:cubicBezTo>
                  <a:lnTo>
                    <a:pt x="42770" y="25610"/>
                  </a:lnTo>
                  <a:cubicBezTo>
                    <a:pt x="42993" y="25851"/>
                    <a:pt x="43027" y="26314"/>
                    <a:pt x="43045" y="25782"/>
                  </a:cubicBezTo>
                  <a:cubicBezTo>
                    <a:pt x="43045" y="25645"/>
                    <a:pt x="43045" y="25438"/>
                    <a:pt x="43165" y="25627"/>
                  </a:cubicBezTo>
                  <a:cubicBezTo>
                    <a:pt x="43133" y="25786"/>
                    <a:pt x="43133" y="25950"/>
                    <a:pt x="43165" y="26108"/>
                  </a:cubicBezTo>
                  <a:cubicBezTo>
                    <a:pt x="43165" y="26108"/>
                    <a:pt x="43165" y="26297"/>
                    <a:pt x="43165" y="26211"/>
                  </a:cubicBezTo>
                  <a:lnTo>
                    <a:pt x="43165" y="26366"/>
                  </a:lnTo>
                  <a:cubicBezTo>
                    <a:pt x="43371" y="26177"/>
                    <a:pt x="43646" y="26366"/>
                    <a:pt x="43766" y="26091"/>
                  </a:cubicBezTo>
                  <a:lnTo>
                    <a:pt x="43766" y="26091"/>
                  </a:lnTo>
                  <a:cubicBezTo>
                    <a:pt x="43766" y="25833"/>
                    <a:pt x="44024" y="25593"/>
                    <a:pt x="44058" y="25318"/>
                  </a:cubicBezTo>
                  <a:lnTo>
                    <a:pt x="44058" y="25318"/>
                  </a:lnTo>
                  <a:cubicBezTo>
                    <a:pt x="44058" y="25318"/>
                    <a:pt x="44058" y="25146"/>
                    <a:pt x="44058" y="25215"/>
                  </a:cubicBezTo>
                  <a:cubicBezTo>
                    <a:pt x="44058" y="25284"/>
                    <a:pt x="44058" y="25559"/>
                    <a:pt x="44058" y="25507"/>
                  </a:cubicBezTo>
                  <a:cubicBezTo>
                    <a:pt x="44058" y="25851"/>
                    <a:pt x="44247" y="26280"/>
                    <a:pt x="44642" y="26091"/>
                  </a:cubicBezTo>
                  <a:cubicBezTo>
                    <a:pt x="44947" y="26440"/>
                    <a:pt x="44947" y="26961"/>
                    <a:pt x="44642" y="27311"/>
                  </a:cubicBezTo>
                  <a:cubicBezTo>
                    <a:pt x="44642" y="27105"/>
                    <a:pt x="44487" y="27757"/>
                    <a:pt x="44642" y="27877"/>
                  </a:cubicBezTo>
                  <a:cubicBezTo>
                    <a:pt x="44230" y="27877"/>
                    <a:pt x="44505" y="28290"/>
                    <a:pt x="44109" y="28376"/>
                  </a:cubicBezTo>
                  <a:cubicBezTo>
                    <a:pt x="44109" y="28496"/>
                    <a:pt x="44109" y="28599"/>
                    <a:pt x="44109" y="28719"/>
                  </a:cubicBezTo>
                  <a:cubicBezTo>
                    <a:pt x="43847" y="28757"/>
                    <a:pt x="43612" y="28900"/>
                    <a:pt x="43457" y="29114"/>
                  </a:cubicBezTo>
                  <a:cubicBezTo>
                    <a:pt x="43457" y="29475"/>
                    <a:pt x="42924" y="29595"/>
                    <a:pt x="42684" y="29767"/>
                  </a:cubicBezTo>
                  <a:cubicBezTo>
                    <a:pt x="42443" y="29939"/>
                    <a:pt x="42495" y="30042"/>
                    <a:pt x="42357" y="29990"/>
                  </a:cubicBezTo>
                  <a:cubicBezTo>
                    <a:pt x="42248" y="30193"/>
                    <a:pt x="42016" y="30299"/>
                    <a:pt x="41791" y="30248"/>
                  </a:cubicBezTo>
                  <a:cubicBezTo>
                    <a:pt x="41649" y="30457"/>
                    <a:pt x="41423" y="30595"/>
                    <a:pt x="41172" y="30626"/>
                  </a:cubicBezTo>
                  <a:cubicBezTo>
                    <a:pt x="41035" y="30317"/>
                    <a:pt x="41172" y="29904"/>
                    <a:pt x="40897" y="29629"/>
                  </a:cubicBezTo>
                  <a:cubicBezTo>
                    <a:pt x="41155" y="29011"/>
                    <a:pt x="40262" y="28204"/>
                    <a:pt x="39850" y="27706"/>
                  </a:cubicBezTo>
                  <a:cubicBezTo>
                    <a:pt x="39850" y="27293"/>
                    <a:pt x="39747" y="26589"/>
                    <a:pt x="39283" y="26606"/>
                  </a:cubicBezTo>
                  <a:cubicBezTo>
                    <a:pt x="39111" y="25799"/>
                    <a:pt x="38166" y="25370"/>
                    <a:pt x="38338" y="24751"/>
                  </a:cubicBezTo>
                  <a:cubicBezTo>
                    <a:pt x="38218" y="24975"/>
                    <a:pt x="38338" y="25249"/>
                    <a:pt x="38201" y="25438"/>
                  </a:cubicBezTo>
                  <a:cubicBezTo>
                    <a:pt x="37948" y="25233"/>
                    <a:pt x="37727" y="24989"/>
                    <a:pt x="37548" y="24717"/>
                  </a:cubicBezTo>
                  <a:cubicBezTo>
                    <a:pt x="37840" y="25370"/>
                    <a:pt x="38304" y="26022"/>
                    <a:pt x="38682" y="26692"/>
                  </a:cubicBezTo>
                  <a:lnTo>
                    <a:pt x="38682" y="26692"/>
                  </a:lnTo>
                  <a:cubicBezTo>
                    <a:pt x="38718" y="26746"/>
                    <a:pt x="38765" y="26793"/>
                    <a:pt x="38819" y="26830"/>
                  </a:cubicBezTo>
                  <a:cubicBezTo>
                    <a:pt x="38819" y="26830"/>
                    <a:pt x="38716" y="26830"/>
                    <a:pt x="38699" y="26830"/>
                  </a:cubicBezTo>
                  <a:cubicBezTo>
                    <a:pt x="38699" y="27328"/>
                    <a:pt x="39231" y="27311"/>
                    <a:pt x="39317" y="27826"/>
                  </a:cubicBezTo>
                  <a:cubicBezTo>
                    <a:pt x="39180" y="27826"/>
                    <a:pt x="39420" y="28187"/>
                    <a:pt x="39317" y="28376"/>
                  </a:cubicBezTo>
                  <a:cubicBezTo>
                    <a:pt x="39214" y="28565"/>
                    <a:pt x="39644" y="28719"/>
                    <a:pt x="39712" y="28891"/>
                  </a:cubicBezTo>
                  <a:cubicBezTo>
                    <a:pt x="39781" y="29063"/>
                    <a:pt x="39884" y="29561"/>
                    <a:pt x="40021" y="29715"/>
                  </a:cubicBezTo>
                  <a:cubicBezTo>
                    <a:pt x="40159" y="29870"/>
                    <a:pt x="40142" y="30007"/>
                    <a:pt x="40021" y="29801"/>
                  </a:cubicBezTo>
                  <a:cubicBezTo>
                    <a:pt x="39901" y="29595"/>
                    <a:pt x="40021" y="30042"/>
                    <a:pt x="40193" y="29939"/>
                  </a:cubicBezTo>
                  <a:cubicBezTo>
                    <a:pt x="40571" y="29939"/>
                    <a:pt x="40708" y="30591"/>
                    <a:pt x="40932" y="30626"/>
                  </a:cubicBezTo>
                  <a:cubicBezTo>
                    <a:pt x="41155" y="30660"/>
                    <a:pt x="40932" y="30746"/>
                    <a:pt x="41035" y="30746"/>
                  </a:cubicBezTo>
                  <a:cubicBezTo>
                    <a:pt x="41037" y="30889"/>
                    <a:pt x="40935" y="31013"/>
                    <a:pt x="40794" y="31038"/>
                  </a:cubicBezTo>
                  <a:cubicBezTo>
                    <a:pt x="41035" y="31038"/>
                    <a:pt x="41086" y="31364"/>
                    <a:pt x="41327" y="31450"/>
                  </a:cubicBezTo>
                  <a:cubicBezTo>
                    <a:pt x="41782" y="31205"/>
                    <a:pt x="42267" y="31020"/>
                    <a:pt x="42770" y="30901"/>
                  </a:cubicBezTo>
                  <a:cubicBezTo>
                    <a:pt x="42857" y="30834"/>
                    <a:pt x="42933" y="30752"/>
                    <a:pt x="42993" y="30660"/>
                  </a:cubicBezTo>
                  <a:cubicBezTo>
                    <a:pt x="43165" y="30660"/>
                    <a:pt x="42993" y="31021"/>
                    <a:pt x="42993" y="31210"/>
                  </a:cubicBezTo>
                  <a:cubicBezTo>
                    <a:pt x="42993" y="31399"/>
                    <a:pt x="42993" y="31210"/>
                    <a:pt x="42993" y="31210"/>
                  </a:cubicBezTo>
                  <a:cubicBezTo>
                    <a:pt x="42684" y="33580"/>
                    <a:pt x="39163" y="34989"/>
                    <a:pt x="38922" y="37033"/>
                  </a:cubicBezTo>
                  <a:cubicBezTo>
                    <a:pt x="38922" y="37033"/>
                    <a:pt x="38716" y="37204"/>
                    <a:pt x="38802" y="37307"/>
                  </a:cubicBezTo>
                  <a:cubicBezTo>
                    <a:pt x="38888" y="37410"/>
                    <a:pt x="38596" y="37874"/>
                    <a:pt x="38802" y="38012"/>
                  </a:cubicBezTo>
                  <a:cubicBezTo>
                    <a:pt x="38630" y="38407"/>
                    <a:pt x="38493" y="38991"/>
                    <a:pt x="38355" y="39248"/>
                  </a:cubicBezTo>
                  <a:cubicBezTo>
                    <a:pt x="38218" y="39506"/>
                    <a:pt x="38149" y="39369"/>
                    <a:pt x="38355" y="39351"/>
                  </a:cubicBezTo>
                  <a:cubicBezTo>
                    <a:pt x="38063" y="39781"/>
                    <a:pt x="37514" y="39901"/>
                    <a:pt x="37119" y="40193"/>
                  </a:cubicBezTo>
                  <a:lnTo>
                    <a:pt x="37119" y="40193"/>
                  </a:lnTo>
                  <a:cubicBezTo>
                    <a:pt x="36902" y="40432"/>
                    <a:pt x="36622" y="40604"/>
                    <a:pt x="36311" y="40691"/>
                  </a:cubicBezTo>
                  <a:cubicBezTo>
                    <a:pt x="36339" y="40751"/>
                    <a:pt x="36339" y="40820"/>
                    <a:pt x="36311" y="40880"/>
                  </a:cubicBezTo>
                  <a:cubicBezTo>
                    <a:pt x="36311" y="40880"/>
                    <a:pt x="36311" y="41000"/>
                    <a:pt x="36311" y="41035"/>
                  </a:cubicBezTo>
                  <a:cubicBezTo>
                    <a:pt x="36311" y="41069"/>
                    <a:pt x="36311" y="41292"/>
                    <a:pt x="36311" y="41395"/>
                  </a:cubicBezTo>
                  <a:cubicBezTo>
                    <a:pt x="36311" y="41498"/>
                    <a:pt x="36311" y="41310"/>
                    <a:pt x="36311" y="41292"/>
                  </a:cubicBezTo>
                  <a:lnTo>
                    <a:pt x="36311" y="41292"/>
                  </a:lnTo>
                  <a:lnTo>
                    <a:pt x="36311" y="41292"/>
                  </a:lnTo>
                  <a:cubicBezTo>
                    <a:pt x="36311" y="41447"/>
                    <a:pt x="36122" y="41567"/>
                    <a:pt x="36054" y="41705"/>
                  </a:cubicBezTo>
                  <a:lnTo>
                    <a:pt x="36054" y="41705"/>
                  </a:lnTo>
                  <a:cubicBezTo>
                    <a:pt x="35865" y="42117"/>
                    <a:pt x="35126" y="41997"/>
                    <a:pt x="35006" y="42392"/>
                  </a:cubicBezTo>
                  <a:lnTo>
                    <a:pt x="35126" y="42392"/>
                  </a:lnTo>
                  <a:cubicBezTo>
                    <a:pt x="35084" y="42471"/>
                    <a:pt x="35025" y="42542"/>
                    <a:pt x="34954" y="42598"/>
                  </a:cubicBezTo>
                  <a:lnTo>
                    <a:pt x="34954" y="42598"/>
                  </a:lnTo>
                  <a:cubicBezTo>
                    <a:pt x="34162" y="43425"/>
                    <a:pt x="33158" y="44019"/>
                    <a:pt x="32051" y="44315"/>
                  </a:cubicBezTo>
                  <a:cubicBezTo>
                    <a:pt x="31588" y="44161"/>
                    <a:pt x="31124" y="44453"/>
                    <a:pt x="30660" y="44418"/>
                  </a:cubicBezTo>
                  <a:cubicBezTo>
                    <a:pt x="30660" y="44333"/>
                    <a:pt x="30660" y="44418"/>
                    <a:pt x="30660" y="44418"/>
                  </a:cubicBezTo>
                  <a:cubicBezTo>
                    <a:pt x="30660" y="44418"/>
                    <a:pt x="30557" y="44333"/>
                    <a:pt x="30660" y="44418"/>
                  </a:cubicBezTo>
                  <a:cubicBezTo>
                    <a:pt x="30763" y="44504"/>
                    <a:pt x="30798" y="44230"/>
                    <a:pt x="30660" y="44092"/>
                  </a:cubicBezTo>
                  <a:cubicBezTo>
                    <a:pt x="30987" y="43938"/>
                    <a:pt x="30660" y="43508"/>
                    <a:pt x="30660" y="43199"/>
                  </a:cubicBezTo>
                  <a:cubicBezTo>
                    <a:pt x="30128" y="42392"/>
                    <a:pt x="30437" y="41189"/>
                    <a:pt x="29836" y="40296"/>
                  </a:cubicBezTo>
                  <a:cubicBezTo>
                    <a:pt x="29836" y="39369"/>
                    <a:pt x="31210" y="38956"/>
                    <a:pt x="30591" y="38046"/>
                  </a:cubicBezTo>
                  <a:cubicBezTo>
                    <a:pt x="30866" y="37840"/>
                    <a:pt x="30591" y="37428"/>
                    <a:pt x="30471" y="37204"/>
                  </a:cubicBezTo>
                  <a:lnTo>
                    <a:pt x="30574" y="37204"/>
                  </a:lnTo>
                  <a:cubicBezTo>
                    <a:pt x="30574" y="37204"/>
                    <a:pt x="30334" y="37204"/>
                    <a:pt x="30454" y="37050"/>
                  </a:cubicBezTo>
                  <a:cubicBezTo>
                    <a:pt x="30248" y="36449"/>
                    <a:pt x="29561" y="36242"/>
                    <a:pt x="29423" y="35607"/>
                  </a:cubicBezTo>
                  <a:cubicBezTo>
                    <a:pt x="29578" y="35607"/>
                    <a:pt x="29612" y="35487"/>
                    <a:pt x="29630" y="35298"/>
                  </a:cubicBezTo>
                  <a:cubicBezTo>
                    <a:pt x="29647" y="35109"/>
                    <a:pt x="29767" y="35298"/>
                    <a:pt x="29819" y="35298"/>
                  </a:cubicBezTo>
                  <a:cubicBezTo>
                    <a:pt x="29741" y="35301"/>
                    <a:pt x="29670" y="35252"/>
                    <a:pt x="29647" y="35177"/>
                  </a:cubicBezTo>
                  <a:cubicBezTo>
                    <a:pt x="29767" y="35177"/>
                    <a:pt x="29750" y="35057"/>
                    <a:pt x="29647" y="35040"/>
                  </a:cubicBezTo>
                  <a:cubicBezTo>
                    <a:pt x="29897" y="34793"/>
                    <a:pt x="29972" y="34419"/>
                    <a:pt x="29836" y="34095"/>
                  </a:cubicBezTo>
                  <a:cubicBezTo>
                    <a:pt x="29681" y="34198"/>
                    <a:pt x="29612" y="34095"/>
                    <a:pt x="29612" y="33906"/>
                  </a:cubicBezTo>
                  <a:cubicBezTo>
                    <a:pt x="29559" y="33957"/>
                    <a:pt x="29477" y="33957"/>
                    <a:pt x="29423" y="33906"/>
                  </a:cubicBezTo>
                  <a:cubicBezTo>
                    <a:pt x="29269" y="34095"/>
                    <a:pt x="28771" y="34078"/>
                    <a:pt x="28496" y="34044"/>
                  </a:cubicBezTo>
                  <a:cubicBezTo>
                    <a:pt x="28118" y="32807"/>
                    <a:pt x="26778" y="33529"/>
                    <a:pt x="25937" y="33821"/>
                  </a:cubicBezTo>
                  <a:cubicBezTo>
                    <a:pt x="24219" y="33305"/>
                    <a:pt x="23961" y="34490"/>
                    <a:pt x="22501" y="32687"/>
                  </a:cubicBezTo>
                  <a:cubicBezTo>
                    <a:pt x="22330" y="32687"/>
                    <a:pt x="22364" y="32429"/>
                    <a:pt x="22226" y="32361"/>
                  </a:cubicBezTo>
                  <a:cubicBezTo>
                    <a:pt x="22089" y="32292"/>
                    <a:pt x="22226" y="32240"/>
                    <a:pt x="22226" y="32137"/>
                  </a:cubicBezTo>
                  <a:cubicBezTo>
                    <a:pt x="22226" y="32034"/>
                    <a:pt x="21883" y="31897"/>
                    <a:pt x="21986" y="31828"/>
                  </a:cubicBezTo>
                  <a:cubicBezTo>
                    <a:pt x="21608" y="31828"/>
                    <a:pt x="21814" y="31485"/>
                    <a:pt x="21591" y="31536"/>
                  </a:cubicBezTo>
                  <a:cubicBezTo>
                    <a:pt x="21368" y="31588"/>
                    <a:pt x="21591" y="31450"/>
                    <a:pt x="21436" y="31450"/>
                  </a:cubicBezTo>
                  <a:lnTo>
                    <a:pt x="21436" y="31450"/>
                  </a:lnTo>
                  <a:lnTo>
                    <a:pt x="21436" y="31450"/>
                  </a:lnTo>
                  <a:cubicBezTo>
                    <a:pt x="21436" y="31450"/>
                    <a:pt x="21436" y="31450"/>
                    <a:pt x="21436" y="31347"/>
                  </a:cubicBezTo>
                  <a:cubicBezTo>
                    <a:pt x="21436" y="31244"/>
                    <a:pt x="21625" y="31347"/>
                    <a:pt x="21642" y="31347"/>
                  </a:cubicBezTo>
                  <a:cubicBezTo>
                    <a:pt x="21660" y="31347"/>
                    <a:pt x="21076" y="31347"/>
                    <a:pt x="21247" y="31158"/>
                  </a:cubicBezTo>
                  <a:cubicBezTo>
                    <a:pt x="21110" y="31158"/>
                    <a:pt x="21076" y="31158"/>
                    <a:pt x="21041" y="30986"/>
                  </a:cubicBezTo>
                  <a:cubicBezTo>
                    <a:pt x="21007" y="30815"/>
                    <a:pt x="21162" y="30986"/>
                    <a:pt x="21213" y="30986"/>
                  </a:cubicBezTo>
                  <a:cubicBezTo>
                    <a:pt x="21265" y="30986"/>
                    <a:pt x="21076" y="30986"/>
                    <a:pt x="21024" y="30986"/>
                  </a:cubicBezTo>
                  <a:cubicBezTo>
                    <a:pt x="20973" y="30986"/>
                    <a:pt x="21024" y="30849"/>
                    <a:pt x="21024" y="30780"/>
                  </a:cubicBezTo>
                  <a:cubicBezTo>
                    <a:pt x="21024" y="30712"/>
                    <a:pt x="21179" y="30935"/>
                    <a:pt x="21299" y="30780"/>
                  </a:cubicBezTo>
                  <a:cubicBezTo>
                    <a:pt x="21419" y="30626"/>
                    <a:pt x="21024" y="30694"/>
                    <a:pt x="21144" y="30626"/>
                  </a:cubicBezTo>
                  <a:lnTo>
                    <a:pt x="21144" y="30626"/>
                  </a:lnTo>
                  <a:cubicBezTo>
                    <a:pt x="21144" y="30626"/>
                    <a:pt x="20990" y="30368"/>
                    <a:pt x="20921" y="30299"/>
                  </a:cubicBezTo>
                  <a:cubicBezTo>
                    <a:pt x="21365" y="29847"/>
                    <a:pt x="21523" y="29187"/>
                    <a:pt x="21333" y="28582"/>
                  </a:cubicBezTo>
                  <a:cubicBezTo>
                    <a:pt x="21471" y="28582"/>
                    <a:pt x="21333" y="28393"/>
                    <a:pt x="21436" y="28358"/>
                  </a:cubicBezTo>
                  <a:cubicBezTo>
                    <a:pt x="21539" y="28324"/>
                    <a:pt x="21265" y="28255"/>
                    <a:pt x="21247" y="28135"/>
                  </a:cubicBezTo>
                  <a:lnTo>
                    <a:pt x="21247" y="28221"/>
                  </a:lnTo>
                  <a:cubicBezTo>
                    <a:pt x="21228" y="27927"/>
                    <a:pt x="21357" y="27644"/>
                    <a:pt x="21591" y="27465"/>
                  </a:cubicBezTo>
                  <a:cubicBezTo>
                    <a:pt x="21952" y="26297"/>
                    <a:pt x="23103" y="25833"/>
                    <a:pt x="23927" y="25043"/>
                  </a:cubicBezTo>
                  <a:cubicBezTo>
                    <a:pt x="23935" y="24883"/>
                    <a:pt x="23935" y="24723"/>
                    <a:pt x="23927" y="24562"/>
                  </a:cubicBezTo>
                  <a:cubicBezTo>
                    <a:pt x="23927" y="24373"/>
                    <a:pt x="24288" y="24288"/>
                    <a:pt x="24133" y="24081"/>
                  </a:cubicBezTo>
                  <a:cubicBezTo>
                    <a:pt x="24677" y="23812"/>
                    <a:pt x="25139" y="23403"/>
                    <a:pt x="25473" y="22896"/>
                  </a:cubicBezTo>
                  <a:cubicBezTo>
                    <a:pt x="25473" y="23240"/>
                    <a:pt x="26005" y="23223"/>
                    <a:pt x="26194" y="23102"/>
                  </a:cubicBezTo>
                  <a:cubicBezTo>
                    <a:pt x="26521" y="23497"/>
                    <a:pt x="27225" y="22828"/>
                    <a:pt x="27586" y="22725"/>
                  </a:cubicBezTo>
                  <a:cubicBezTo>
                    <a:pt x="27946" y="22621"/>
                    <a:pt x="28771" y="22725"/>
                    <a:pt x="29063" y="22587"/>
                  </a:cubicBezTo>
                  <a:cubicBezTo>
                    <a:pt x="29355" y="22450"/>
                    <a:pt x="29286" y="22828"/>
                    <a:pt x="29372" y="22587"/>
                  </a:cubicBezTo>
                  <a:cubicBezTo>
                    <a:pt x="29647" y="22828"/>
                    <a:pt x="29939" y="22450"/>
                    <a:pt x="30162" y="22587"/>
                  </a:cubicBezTo>
                  <a:cubicBezTo>
                    <a:pt x="30162" y="22398"/>
                    <a:pt x="30299" y="22725"/>
                    <a:pt x="30385" y="22776"/>
                  </a:cubicBezTo>
                  <a:cubicBezTo>
                    <a:pt x="30746" y="22415"/>
                    <a:pt x="30488" y="22862"/>
                    <a:pt x="30385" y="23017"/>
                  </a:cubicBezTo>
                  <a:cubicBezTo>
                    <a:pt x="31021" y="23446"/>
                    <a:pt x="29956" y="23618"/>
                    <a:pt x="30385" y="23910"/>
                  </a:cubicBezTo>
                  <a:cubicBezTo>
                    <a:pt x="30385" y="23910"/>
                    <a:pt x="30385" y="23910"/>
                    <a:pt x="30506" y="23910"/>
                  </a:cubicBezTo>
                  <a:cubicBezTo>
                    <a:pt x="30626" y="23910"/>
                    <a:pt x="30506" y="23824"/>
                    <a:pt x="30506" y="23910"/>
                  </a:cubicBezTo>
                  <a:cubicBezTo>
                    <a:pt x="30677" y="24322"/>
                    <a:pt x="31313" y="24013"/>
                    <a:pt x="31622" y="24236"/>
                  </a:cubicBezTo>
                  <a:cubicBezTo>
                    <a:pt x="34851" y="26469"/>
                    <a:pt x="32343" y="23566"/>
                    <a:pt x="34473" y="24236"/>
                  </a:cubicBezTo>
                  <a:cubicBezTo>
                    <a:pt x="34834" y="24580"/>
                    <a:pt x="35641" y="24477"/>
                    <a:pt x="36191" y="24700"/>
                  </a:cubicBezTo>
                  <a:cubicBezTo>
                    <a:pt x="36741" y="24923"/>
                    <a:pt x="36724" y="24597"/>
                    <a:pt x="37084" y="24494"/>
                  </a:cubicBezTo>
                  <a:cubicBezTo>
                    <a:pt x="36844" y="24580"/>
                    <a:pt x="37084" y="24494"/>
                    <a:pt x="37187" y="24494"/>
                  </a:cubicBezTo>
                  <a:cubicBezTo>
                    <a:pt x="37290" y="24494"/>
                    <a:pt x="37187" y="24494"/>
                    <a:pt x="37187" y="24494"/>
                  </a:cubicBezTo>
                  <a:cubicBezTo>
                    <a:pt x="37187" y="24494"/>
                    <a:pt x="37411" y="24494"/>
                    <a:pt x="37462" y="24494"/>
                  </a:cubicBezTo>
                  <a:cubicBezTo>
                    <a:pt x="37514" y="24494"/>
                    <a:pt x="37565" y="24614"/>
                    <a:pt x="37565" y="24665"/>
                  </a:cubicBezTo>
                  <a:cubicBezTo>
                    <a:pt x="37565" y="24717"/>
                    <a:pt x="37565" y="24562"/>
                    <a:pt x="37565" y="24494"/>
                  </a:cubicBezTo>
                  <a:cubicBezTo>
                    <a:pt x="38733" y="24889"/>
                    <a:pt x="38338" y="22776"/>
                    <a:pt x="38407" y="22381"/>
                  </a:cubicBezTo>
                  <a:cubicBezTo>
                    <a:pt x="38218" y="22536"/>
                    <a:pt x="37892" y="22381"/>
                    <a:pt x="37840" y="22656"/>
                  </a:cubicBezTo>
                  <a:cubicBezTo>
                    <a:pt x="37496" y="23051"/>
                    <a:pt x="36775" y="22106"/>
                    <a:pt x="36775" y="22656"/>
                  </a:cubicBezTo>
                  <a:cubicBezTo>
                    <a:pt x="36620" y="22656"/>
                    <a:pt x="36225" y="22828"/>
                    <a:pt x="36277" y="22536"/>
                  </a:cubicBezTo>
                  <a:cubicBezTo>
                    <a:pt x="36277" y="22536"/>
                    <a:pt x="36277" y="22536"/>
                    <a:pt x="36140" y="22536"/>
                  </a:cubicBezTo>
                  <a:cubicBezTo>
                    <a:pt x="36002" y="22536"/>
                    <a:pt x="35951" y="22690"/>
                    <a:pt x="35933" y="22536"/>
                  </a:cubicBezTo>
                  <a:lnTo>
                    <a:pt x="35727" y="22536"/>
                  </a:lnTo>
                  <a:cubicBezTo>
                    <a:pt x="35727" y="22450"/>
                    <a:pt x="35951" y="22536"/>
                    <a:pt x="35951" y="22398"/>
                  </a:cubicBezTo>
                  <a:cubicBezTo>
                    <a:pt x="35951" y="22261"/>
                    <a:pt x="35556" y="22501"/>
                    <a:pt x="35762" y="22398"/>
                  </a:cubicBezTo>
                  <a:cubicBezTo>
                    <a:pt x="35521" y="22244"/>
                    <a:pt x="35762" y="22106"/>
                    <a:pt x="35401" y="22020"/>
                  </a:cubicBezTo>
                  <a:cubicBezTo>
                    <a:pt x="35040" y="21934"/>
                    <a:pt x="35401" y="21883"/>
                    <a:pt x="35401" y="21831"/>
                  </a:cubicBezTo>
                  <a:cubicBezTo>
                    <a:pt x="35401" y="21780"/>
                    <a:pt x="35401" y="21952"/>
                    <a:pt x="35573" y="21831"/>
                  </a:cubicBezTo>
                  <a:lnTo>
                    <a:pt x="35573" y="21831"/>
                  </a:lnTo>
                  <a:cubicBezTo>
                    <a:pt x="35573" y="21831"/>
                    <a:pt x="35710" y="21831"/>
                    <a:pt x="35676" y="21694"/>
                  </a:cubicBezTo>
                  <a:cubicBezTo>
                    <a:pt x="35641" y="21557"/>
                    <a:pt x="35504" y="21522"/>
                    <a:pt x="35676" y="21488"/>
                  </a:cubicBezTo>
                  <a:cubicBezTo>
                    <a:pt x="35195" y="21660"/>
                    <a:pt x="35435" y="20938"/>
                    <a:pt x="35779" y="21179"/>
                  </a:cubicBezTo>
                  <a:cubicBezTo>
                    <a:pt x="35779" y="21041"/>
                    <a:pt x="36071" y="21179"/>
                    <a:pt x="36225" y="21179"/>
                  </a:cubicBezTo>
                  <a:cubicBezTo>
                    <a:pt x="35916" y="21058"/>
                    <a:pt x="36363" y="21076"/>
                    <a:pt x="36397" y="20990"/>
                  </a:cubicBezTo>
                  <a:cubicBezTo>
                    <a:pt x="35676" y="20766"/>
                    <a:pt x="36775" y="20869"/>
                    <a:pt x="36827" y="20784"/>
                  </a:cubicBezTo>
                  <a:cubicBezTo>
                    <a:pt x="36964" y="20406"/>
                    <a:pt x="37479" y="20457"/>
                    <a:pt x="37788" y="20371"/>
                  </a:cubicBezTo>
                  <a:cubicBezTo>
                    <a:pt x="37788" y="20543"/>
                    <a:pt x="37960" y="20560"/>
                    <a:pt x="38063" y="20371"/>
                  </a:cubicBezTo>
                  <a:cubicBezTo>
                    <a:pt x="38166" y="20182"/>
                    <a:pt x="38201" y="20663"/>
                    <a:pt x="38287" y="20526"/>
                  </a:cubicBezTo>
                  <a:cubicBezTo>
                    <a:pt x="40760" y="21024"/>
                    <a:pt x="38991" y="19324"/>
                    <a:pt x="37857" y="19049"/>
                  </a:cubicBezTo>
                  <a:cubicBezTo>
                    <a:pt x="37857" y="19049"/>
                    <a:pt x="37857" y="19049"/>
                    <a:pt x="37857" y="18911"/>
                  </a:cubicBezTo>
                  <a:cubicBezTo>
                    <a:pt x="37857" y="18774"/>
                    <a:pt x="38063" y="18911"/>
                    <a:pt x="37977" y="18791"/>
                  </a:cubicBezTo>
                  <a:cubicBezTo>
                    <a:pt x="37892" y="18671"/>
                    <a:pt x="38201" y="18637"/>
                    <a:pt x="37977" y="18551"/>
                  </a:cubicBezTo>
                  <a:cubicBezTo>
                    <a:pt x="37754" y="18465"/>
                    <a:pt x="37874" y="18551"/>
                    <a:pt x="37857" y="18448"/>
                  </a:cubicBezTo>
                  <a:cubicBezTo>
                    <a:pt x="37840" y="18345"/>
                    <a:pt x="38029" y="18448"/>
                    <a:pt x="38029" y="18448"/>
                  </a:cubicBezTo>
                  <a:cubicBezTo>
                    <a:pt x="38029" y="18448"/>
                    <a:pt x="38166" y="18310"/>
                    <a:pt x="38132" y="18224"/>
                  </a:cubicBezTo>
                  <a:cubicBezTo>
                    <a:pt x="38098" y="18138"/>
                    <a:pt x="37651" y="18224"/>
                    <a:pt x="37548" y="18499"/>
                  </a:cubicBezTo>
                  <a:cubicBezTo>
                    <a:pt x="37548" y="18499"/>
                    <a:pt x="37445" y="18585"/>
                    <a:pt x="37359" y="18499"/>
                  </a:cubicBezTo>
                  <a:cubicBezTo>
                    <a:pt x="37273" y="18413"/>
                    <a:pt x="37256" y="18499"/>
                    <a:pt x="37204" y="18499"/>
                  </a:cubicBezTo>
                  <a:cubicBezTo>
                    <a:pt x="37153" y="18499"/>
                    <a:pt x="37204" y="18774"/>
                    <a:pt x="37204" y="18705"/>
                  </a:cubicBezTo>
                  <a:cubicBezTo>
                    <a:pt x="37204" y="18637"/>
                    <a:pt x="37204" y="18585"/>
                    <a:pt x="37204" y="18568"/>
                  </a:cubicBezTo>
                  <a:cubicBezTo>
                    <a:pt x="37204" y="18551"/>
                    <a:pt x="36964" y="18722"/>
                    <a:pt x="36878" y="18791"/>
                  </a:cubicBezTo>
                  <a:cubicBezTo>
                    <a:pt x="36792" y="18860"/>
                    <a:pt x="37170" y="18791"/>
                    <a:pt x="37136" y="18946"/>
                  </a:cubicBezTo>
                  <a:cubicBezTo>
                    <a:pt x="37101" y="19100"/>
                    <a:pt x="37136" y="18946"/>
                    <a:pt x="37136" y="18946"/>
                  </a:cubicBezTo>
                  <a:cubicBezTo>
                    <a:pt x="37136" y="18946"/>
                    <a:pt x="37136" y="19066"/>
                    <a:pt x="37325" y="19049"/>
                  </a:cubicBezTo>
                  <a:cubicBezTo>
                    <a:pt x="37514" y="19032"/>
                    <a:pt x="37016" y="18825"/>
                    <a:pt x="37084" y="18705"/>
                  </a:cubicBezTo>
                  <a:cubicBezTo>
                    <a:pt x="37153" y="18585"/>
                    <a:pt x="37273" y="18980"/>
                    <a:pt x="37393" y="19014"/>
                  </a:cubicBezTo>
                  <a:cubicBezTo>
                    <a:pt x="37514" y="19049"/>
                    <a:pt x="37393" y="19014"/>
                    <a:pt x="37514" y="19014"/>
                  </a:cubicBezTo>
                  <a:cubicBezTo>
                    <a:pt x="37634" y="19014"/>
                    <a:pt x="37617" y="18929"/>
                    <a:pt x="37685" y="18929"/>
                  </a:cubicBezTo>
                  <a:cubicBezTo>
                    <a:pt x="37754" y="18929"/>
                    <a:pt x="37685" y="19152"/>
                    <a:pt x="37462" y="19100"/>
                  </a:cubicBezTo>
                  <a:cubicBezTo>
                    <a:pt x="37239" y="19049"/>
                    <a:pt x="36861" y="19650"/>
                    <a:pt x="36912" y="19100"/>
                  </a:cubicBezTo>
                  <a:cubicBezTo>
                    <a:pt x="36775" y="18980"/>
                    <a:pt x="36466" y="19100"/>
                    <a:pt x="36758" y="18860"/>
                  </a:cubicBezTo>
                  <a:cubicBezTo>
                    <a:pt x="37050" y="18619"/>
                    <a:pt x="36620" y="18602"/>
                    <a:pt x="36500" y="18740"/>
                  </a:cubicBezTo>
                  <a:cubicBezTo>
                    <a:pt x="36380" y="18877"/>
                    <a:pt x="36311" y="18740"/>
                    <a:pt x="36380" y="18619"/>
                  </a:cubicBezTo>
                  <a:cubicBezTo>
                    <a:pt x="36449" y="18499"/>
                    <a:pt x="36191" y="18619"/>
                    <a:pt x="36157" y="18619"/>
                  </a:cubicBezTo>
                  <a:cubicBezTo>
                    <a:pt x="36122" y="18619"/>
                    <a:pt x="36380" y="18619"/>
                    <a:pt x="36449" y="18619"/>
                  </a:cubicBezTo>
                  <a:cubicBezTo>
                    <a:pt x="36396" y="18670"/>
                    <a:pt x="36313" y="18670"/>
                    <a:pt x="36260" y="18619"/>
                  </a:cubicBezTo>
                  <a:cubicBezTo>
                    <a:pt x="36260" y="18791"/>
                    <a:pt x="36122" y="18619"/>
                    <a:pt x="36088" y="18740"/>
                  </a:cubicBezTo>
                  <a:cubicBezTo>
                    <a:pt x="36054" y="18860"/>
                    <a:pt x="36088" y="18929"/>
                    <a:pt x="35916" y="18946"/>
                  </a:cubicBezTo>
                  <a:cubicBezTo>
                    <a:pt x="35744" y="18963"/>
                    <a:pt x="35916" y="19221"/>
                    <a:pt x="35796" y="19083"/>
                  </a:cubicBezTo>
                  <a:cubicBezTo>
                    <a:pt x="35916" y="19392"/>
                    <a:pt x="35796" y="19409"/>
                    <a:pt x="35607" y="19598"/>
                  </a:cubicBezTo>
                  <a:cubicBezTo>
                    <a:pt x="35418" y="19787"/>
                    <a:pt x="35607" y="19856"/>
                    <a:pt x="35607" y="19993"/>
                  </a:cubicBezTo>
                  <a:cubicBezTo>
                    <a:pt x="35607" y="20131"/>
                    <a:pt x="35401" y="20097"/>
                    <a:pt x="35470" y="20251"/>
                  </a:cubicBezTo>
                  <a:cubicBezTo>
                    <a:pt x="35538" y="20406"/>
                    <a:pt x="35607" y="20440"/>
                    <a:pt x="35607" y="20698"/>
                  </a:cubicBezTo>
                  <a:cubicBezTo>
                    <a:pt x="35607" y="20955"/>
                    <a:pt x="36054" y="20835"/>
                    <a:pt x="35899" y="20990"/>
                  </a:cubicBezTo>
                  <a:cubicBezTo>
                    <a:pt x="35744" y="21144"/>
                    <a:pt x="35435" y="21144"/>
                    <a:pt x="35212" y="21333"/>
                  </a:cubicBezTo>
                  <a:cubicBezTo>
                    <a:pt x="35212" y="21230"/>
                    <a:pt x="35212" y="21179"/>
                    <a:pt x="35315" y="21144"/>
                  </a:cubicBezTo>
                  <a:cubicBezTo>
                    <a:pt x="35109" y="21144"/>
                    <a:pt x="34851" y="20887"/>
                    <a:pt x="34731" y="21144"/>
                  </a:cubicBezTo>
                  <a:cubicBezTo>
                    <a:pt x="34559" y="21144"/>
                    <a:pt x="34611" y="21144"/>
                    <a:pt x="34491" y="21230"/>
                  </a:cubicBezTo>
                  <a:cubicBezTo>
                    <a:pt x="34370" y="21316"/>
                    <a:pt x="34491" y="21333"/>
                    <a:pt x="34611" y="21385"/>
                  </a:cubicBezTo>
                  <a:cubicBezTo>
                    <a:pt x="34731" y="21436"/>
                    <a:pt x="34422" y="21299"/>
                    <a:pt x="34439" y="21385"/>
                  </a:cubicBezTo>
                  <a:cubicBezTo>
                    <a:pt x="34456" y="21471"/>
                    <a:pt x="34559" y="21385"/>
                    <a:pt x="34439" y="21471"/>
                  </a:cubicBezTo>
                  <a:cubicBezTo>
                    <a:pt x="34319" y="21557"/>
                    <a:pt x="34164" y="21350"/>
                    <a:pt x="34439" y="21471"/>
                  </a:cubicBezTo>
                  <a:cubicBezTo>
                    <a:pt x="34302" y="21471"/>
                    <a:pt x="34250" y="21333"/>
                    <a:pt x="34164" y="21282"/>
                  </a:cubicBezTo>
                  <a:cubicBezTo>
                    <a:pt x="34078" y="21230"/>
                    <a:pt x="33924" y="21402"/>
                    <a:pt x="34164" y="21522"/>
                  </a:cubicBezTo>
                  <a:cubicBezTo>
                    <a:pt x="34405" y="21642"/>
                    <a:pt x="34542" y="21986"/>
                    <a:pt x="34164" y="21728"/>
                  </a:cubicBezTo>
                  <a:cubicBezTo>
                    <a:pt x="34164" y="21728"/>
                    <a:pt x="34164" y="21728"/>
                    <a:pt x="34164" y="21728"/>
                  </a:cubicBezTo>
                  <a:cubicBezTo>
                    <a:pt x="34164" y="21728"/>
                    <a:pt x="34164" y="21849"/>
                    <a:pt x="34164" y="21831"/>
                  </a:cubicBezTo>
                  <a:cubicBezTo>
                    <a:pt x="34353" y="21969"/>
                    <a:pt x="34680" y="22020"/>
                    <a:pt x="34662" y="22295"/>
                  </a:cubicBezTo>
                  <a:cubicBezTo>
                    <a:pt x="34542" y="22295"/>
                    <a:pt x="34473" y="22175"/>
                    <a:pt x="34336" y="22295"/>
                  </a:cubicBezTo>
                  <a:cubicBezTo>
                    <a:pt x="34199" y="22415"/>
                    <a:pt x="34645" y="22536"/>
                    <a:pt x="34456" y="22467"/>
                  </a:cubicBezTo>
                  <a:cubicBezTo>
                    <a:pt x="34267" y="22398"/>
                    <a:pt x="34456" y="22467"/>
                    <a:pt x="34456" y="22467"/>
                  </a:cubicBezTo>
                  <a:cubicBezTo>
                    <a:pt x="34456" y="22467"/>
                    <a:pt x="34456" y="22707"/>
                    <a:pt x="34456" y="22776"/>
                  </a:cubicBezTo>
                  <a:cubicBezTo>
                    <a:pt x="34456" y="22845"/>
                    <a:pt x="34216" y="22587"/>
                    <a:pt x="34250" y="22776"/>
                  </a:cubicBezTo>
                  <a:cubicBezTo>
                    <a:pt x="34250" y="22621"/>
                    <a:pt x="34147" y="22639"/>
                    <a:pt x="34078" y="22518"/>
                  </a:cubicBezTo>
                  <a:cubicBezTo>
                    <a:pt x="34010" y="22398"/>
                    <a:pt x="34078" y="22604"/>
                    <a:pt x="34078" y="22656"/>
                  </a:cubicBezTo>
                  <a:cubicBezTo>
                    <a:pt x="33988" y="22604"/>
                    <a:pt x="33946" y="22498"/>
                    <a:pt x="33975" y="22398"/>
                  </a:cubicBezTo>
                  <a:cubicBezTo>
                    <a:pt x="33855" y="22295"/>
                    <a:pt x="33666" y="22226"/>
                    <a:pt x="33855" y="22089"/>
                  </a:cubicBezTo>
                  <a:cubicBezTo>
                    <a:pt x="34044" y="21952"/>
                    <a:pt x="34199" y="22261"/>
                    <a:pt x="34353" y="22089"/>
                  </a:cubicBezTo>
                  <a:cubicBezTo>
                    <a:pt x="34216" y="22089"/>
                    <a:pt x="34061" y="21917"/>
                    <a:pt x="33958" y="22089"/>
                  </a:cubicBezTo>
                  <a:cubicBezTo>
                    <a:pt x="33855" y="22261"/>
                    <a:pt x="33838" y="21969"/>
                    <a:pt x="33786" y="22089"/>
                  </a:cubicBezTo>
                  <a:cubicBezTo>
                    <a:pt x="33546" y="21849"/>
                    <a:pt x="33374" y="21471"/>
                    <a:pt x="33065" y="21316"/>
                  </a:cubicBezTo>
                  <a:cubicBezTo>
                    <a:pt x="33065" y="21127"/>
                    <a:pt x="33065" y="20921"/>
                    <a:pt x="33065" y="20732"/>
                  </a:cubicBezTo>
                  <a:cubicBezTo>
                    <a:pt x="32859" y="20732"/>
                    <a:pt x="32739" y="20457"/>
                    <a:pt x="32584" y="20320"/>
                  </a:cubicBezTo>
                  <a:cubicBezTo>
                    <a:pt x="32429" y="20182"/>
                    <a:pt x="32326" y="20320"/>
                    <a:pt x="32275" y="20320"/>
                  </a:cubicBezTo>
                  <a:cubicBezTo>
                    <a:pt x="32223" y="20320"/>
                    <a:pt x="32275" y="20320"/>
                    <a:pt x="32395" y="20320"/>
                  </a:cubicBezTo>
                  <a:cubicBezTo>
                    <a:pt x="32515" y="20320"/>
                    <a:pt x="32103" y="20062"/>
                    <a:pt x="31931" y="20131"/>
                  </a:cubicBezTo>
                  <a:cubicBezTo>
                    <a:pt x="31759" y="20200"/>
                    <a:pt x="31416" y="19839"/>
                    <a:pt x="31742" y="19856"/>
                  </a:cubicBezTo>
                  <a:cubicBezTo>
                    <a:pt x="31347" y="19616"/>
                    <a:pt x="31536" y="19135"/>
                    <a:pt x="31175" y="19633"/>
                  </a:cubicBezTo>
                  <a:cubicBezTo>
                    <a:pt x="31175" y="19530"/>
                    <a:pt x="31038" y="19409"/>
                    <a:pt x="31175" y="19306"/>
                  </a:cubicBezTo>
                  <a:cubicBezTo>
                    <a:pt x="31313" y="19203"/>
                    <a:pt x="30832" y="19306"/>
                    <a:pt x="30746" y="19427"/>
                  </a:cubicBezTo>
                  <a:cubicBezTo>
                    <a:pt x="30746" y="19942"/>
                    <a:pt x="31347" y="20268"/>
                    <a:pt x="31656" y="20681"/>
                  </a:cubicBezTo>
                  <a:cubicBezTo>
                    <a:pt x="31811" y="20681"/>
                    <a:pt x="32223" y="20681"/>
                    <a:pt x="31983" y="20887"/>
                  </a:cubicBezTo>
                  <a:cubicBezTo>
                    <a:pt x="32223" y="21024"/>
                    <a:pt x="32979" y="21161"/>
                    <a:pt x="32807" y="21539"/>
                  </a:cubicBezTo>
                  <a:cubicBezTo>
                    <a:pt x="32653" y="21539"/>
                    <a:pt x="32807" y="21282"/>
                    <a:pt x="32532" y="21333"/>
                  </a:cubicBezTo>
                  <a:cubicBezTo>
                    <a:pt x="32258" y="21385"/>
                    <a:pt x="32258" y="21539"/>
                    <a:pt x="32309" y="21625"/>
                  </a:cubicBezTo>
                  <a:cubicBezTo>
                    <a:pt x="32670" y="21728"/>
                    <a:pt x="32309" y="21934"/>
                    <a:pt x="32309" y="22141"/>
                  </a:cubicBezTo>
                  <a:cubicBezTo>
                    <a:pt x="32309" y="22347"/>
                    <a:pt x="31845" y="22415"/>
                    <a:pt x="32086" y="22141"/>
                  </a:cubicBezTo>
                  <a:cubicBezTo>
                    <a:pt x="32197" y="21856"/>
                    <a:pt x="32069" y="21534"/>
                    <a:pt x="31794" y="21402"/>
                  </a:cubicBezTo>
                  <a:cubicBezTo>
                    <a:pt x="31639" y="21402"/>
                    <a:pt x="31794" y="21282"/>
                    <a:pt x="31656" y="21230"/>
                  </a:cubicBezTo>
                  <a:cubicBezTo>
                    <a:pt x="31518" y="21226"/>
                    <a:pt x="31393" y="21147"/>
                    <a:pt x="31330" y="21024"/>
                  </a:cubicBezTo>
                  <a:cubicBezTo>
                    <a:pt x="30317" y="21024"/>
                    <a:pt x="30145" y="18980"/>
                    <a:pt x="29080" y="20217"/>
                  </a:cubicBezTo>
                  <a:cubicBezTo>
                    <a:pt x="29080" y="20423"/>
                    <a:pt x="28736" y="20217"/>
                    <a:pt x="28633" y="20114"/>
                  </a:cubicBezTo>
                  <a:cubicBezTo>
                    <a:pt x="27568" y="19993"/>
                    <a:pt x="28633" y="20921"/>
                    <a:pt x="27448" y="21093"/>
                  </a:cubicBezTo>
                  <a:cubicBezTo>
                    <a:pt x="27534" y="21093"/>
                    <a:pt x="27448" y="21265"/>
                    <a:pt x="27448" y="21213"/>
                  </a:cubicBezTo>
                  <a:cubicBezTo>
                    <a:pt x="26744" y="21763"/>
                    <a:pt x="27448" y="21728"/>
                    <a:pt x="27191" y="22003"/>
                  </a:cubicBezTo>
                  <a:cubicBezTo>
                    <a:pt x="26950" y="22003"/>
                    <a:pt x="27070" y="22450"/>
                    <a:pt x="26847" y="22398"/>
                  </a:cubicBezTo>
                  <a:cubicBezTo>
                    <a:pt x="26418" y="22862"/>
                    <a:pt x="25919" y="22398"/>
                    <a:pt x="25421" y="22896"/>
                  </a:cubicBezTo>
                  <a:cubicBezTo>
                    <a:pt x="25095" y="22896"/>
                    <a:pt x="25147" y="22192"/>
                    <a:pt x="24700" y="22501"/>
                  </a:cubicBezTo>
                  <a:cubicBezTo>
                    <a:pt x="24700" y="22501"/>
                    <a:pt x="24494" y="22364"/>
                    <a:pt x="24408" y="22501"/>
                  </a:cubicBezTo>
                  <a:cubicBezTo>
                    <a:pt x="24426" y="22310"/>
                    <a:pt x="24460" y="22120"/>
                    <a:pt x="24511" y="21934"/>
                  </a:cubicBezTo>
                  <a:cubicBezTo>
                    <a:pt x="24185" y="21934"/>
                    <a:pt x="24511" y="21934"/>
                    <a:pt x="24511" y="21763"/>
                  </a:cubicBezTo>
                  <a:cubicBezTo>
                    <a:pt x="24099" y="22020"/>
                    <a:pt x="24614" y="21299"/>
                    <a:pt x="24631" y="21144"/>
                  </a:cubicBezTo>
                  <a:cubicBezTo>
                    <a:pt x="24648" y="20990"/>
                    <a:pt x="24631" y="20595"/>
                    <a:pt x="24734" y="20457"/>
                  </a:cubicBezTo>
                  <a:lnTo>
                    <a:pt x="24734" y="20457"/>
                  </a:lnTo>
                  <a:cubicBezTo>
                    <a:pt x="24734" y="20457"/>
                    <a:pt x="24734" y="20457"/>
                    <a:pt x="24734" y="20337"/>
                  </a:cubicBezTo>
                  <a:cubicBezTo>
                    <a:pt x="24734" y="20217"/>
                    <a:pt x="24734" y="20337"/>
                    <a:pt x="24734" y="20234"/>
                  </a:cubicBezTo>
                  <a:cubicBezTo>
                    <a:pt x="24734" y="20131"/>
                    <a:pt x="24940" y="20097"/>
                    <a:pt x="25026" y="20045"/>
                  </a:cubicBezTo>
                  <a:cubicBezTo>
                    <a:pt x="25112" y="19993"/>
                    <a:pt x="25404" y="20045"/>
                    <a:pt x="25490" y="20045"/>
                  </a:cubicBezTo>
                  <a:cubicBezTo>
                    <a:pt x="25851" y="20045"/>
                    <a:pt x="26246" y="20217"/>
                    <a:pt x="26607" y="20131"/>
                  </a:cubicBezTo>
                  <a:cubicBezTo>
                    <a:pt x="27242" y="20629"/>
                    <a:pt x="26847" y="18911"/>
                    <a:pt x="27276" y="19564"/>
                  </a:cubicBezTo>
                  <a:cubicBezTo>
                    <a:pt x="27276" y="19461"/>
                    <a:pt x="27173" y="19306"/>
                    <a:pt x="27053" y="19289"/>
                  </a:cubicBezTo>
                  <a:cubicBezTo>
                    <a:pt x="27225" y="19066"/>
                    <a:pt x="26899" y="19014"/>
                    <a:pt x="26813" y="18860"/>
                  </a:cubicBezTo>
                  <a:cubicBezTo>
                    <a:pt x="26727" y="18705"/>
                    <a:pt x="26813" y="18619"/>
                    <a:pt x="26950" y="18722"/>
                  </a:cubicBezTo>
                  <a:cubicBezTo>
                    <a:pt x="26847" y="18568"/>
                    <a:pt x="26727" y="18825"/>
                    <a:pt x="26727" y="18551"/>
                  </a:cubicBezTo>
                  <a:cubicBezTo>
                    <a:pt x="26607" y="18551"/>
                    <a:pt x="26400" y="18345"/>
                    <a:pt x="26229" y="18465"/>
                  </a:cubicBezTo>
                  <a:cubicBezTo>
                    <a:pt x="26057" y="18585"/>
                    <a:pt x="26229" y="18465"/>
                    <a:pt x="26229" y="18345"/>
                  </a:cubicBezTo>
                  <a:cubicBezTo>
                    <a:pt x="26229" y="18224"/>
                    <a:pt x="26332" y="18190"/>
                    <a:pt x="26229" y="18345"/>
                  </a:cubicBezTo>
                  <a:cubicBezTo>
                    <a:pt x="26126" y="18499"/>
                    <a:pt x="26229" y="18345"/>
                    <a:pt x="26229" y="18345"/>
                  </a:cubicBezTo>
                  <a:cubicBezTo>
                    <a:pt x="25851" y="18224"/>
                    <a:pt x="26435" y="18207"/>
                    <a:pt x="26555" y="18121"/>
                  </a:cubicBezTo>
                  <a:cubicBezTo>
                    <a:pt x="26692" y="18293"/>
                    <a:pt x="26795" y="18121"/>
                    <a:pt x="27019" y="18241"/>
                  </a:cubicBezTo>
                  <a:cubicBezTo>
                    <a:pt x="26989" y="18096"/>
                    <a:pt x="26949" y="17952"/>
                    <a:pt x="26899" y="17812"/>
                  </a:cubicBezTo>
                  <a:cubicBezTo>
                    <a:pt x="26899" y="17812"/>
                    <a:pt x="27053" y="17812"/>
                    <a:pt x="27105" y="17812"/>
                  </a:cubicBezTo>
                  <a:cubicBezTo>
                    <a:pt x="27156" y="17812"/>
                    <a:pt x="27397" y="18001"/>
                    <a:pt x="27500" y="17812"/>
                  </a:cubicBezTo>
                  <a:cubicBezTo>
                    <a:pt x="27259" y="17623"/>
                    <a:pt x="27775" y="17709"/>
                    <a:pt x="27775" y="17606"/>
                  </a:cubicBezTo>
                  <a:cubicBezTo>
                    <a:pt x="27775" y="17503"/>
                    <a:pt x="27860" y="17383"/>
                    <a:pt x="27895" y="17280"/>
                  </a:cubicBezTo>
                  <a:cubicBezTo>
                    <a:pt x="27929" y="17177"/>
                    <a:pt x="28204" y="16988"/>
                    <a:pt x="28444" y="17125"/>
                  </a:cubicBezTo>
                  <a:cubicBezTo>
                    <a:pt x="28273" y="17125"/>
                    <a:pt x="28221" y="16919"/>
                    <a:pt x="28444" y="17125"/>
                  </a:cubicBezTo>
                  <a:cubicBezTo>
                    <a:pt x="28668" y="17331"/>
                    <a:pt x="28324" y="17005"/>
                    <a:pt x="28547" y="17022"/>
                  </a:cubicBezTo>
                  <a:cubicBezTo>
                    <a:pt x="28187" y="16764"/>
                    <a:pt x="28925" y="16112"/>
                    <a:pt x="29286" y="16438"/>
                  </a:cubicBezTo>
                  <a:cubicBezTo>
                    <a:pt x="29028" y="16249"/>
                    <a:pt x="29389" y="16112"/>
                    <a:pt x="29458" y="16438"/>
                  </a:cubicBezTo>
                  <a:cubicBezTo>
                    <a:pt x="29458" y="16197"/>
                    <a:pt x="29458" y="16438"/>
                    <a:pt x="29595" y="16438"/>
                  </a:cubicBezTo>
                  <a:cubicBezTo>
                    <a:pt x="29441" y="16026"/>
                    <a:pt x="29750" y="16232"/>
                    <a:pt x="29956" y="16301"/>
                  </a:cubicBezTo>
                  <a:cubicBezTo>
                    <a:pt x="29389" y="16043"/>
                    <a:pt x="29544" y="15493"/>
                    <a:pt x="29389" y="15115"/>
                  </a:cubicBezTo>
                  <a:cubicBezTo>
                    <a:pt x="29630" y="15115"/>
                    <a:pt x="29527" y="14961"/>
                    <a:pt x="29664" y="15115"/>
                  </a:cubicBezTo>
                  <a:cubicBezTo>
                    <a:pt x="29664" y="14634"/>
                    <a:pt x="29836" y="15115"/>
                    <a:pt x="30025" y="15115"/>
                  </a:cubicBezTo>
                  <a:cubicBezTo>
                    <a:pt x="30025" y="15373"/>
                    <a:pt x="29527" y="15528"/>
                    <a:pt x="29922" y="16009"/>
                  </a:cubicBezTo>
                  <a:cubicBezTo>
                    <a:pt x="29922" y="15888"/>
                    <a:pt x="30334" y="16009"/>
                    <a:pt x="30059" y="16094"/>
                  </a:cubicBezTo>
                  <a:cubicBezTo>
                    <a:pt x="30591" y="16094"/>
                    <a:pt x="30385" y="15768"/>
                    <a:pt x="30883" y="16094"/>
                  </a:cubicBezTo>
                  <a:cubicBezTo>
                    <a:pt x="31124" y="16472"/>
                    <a:pt x="31656" y="15356"/>
                    <a:pt x="32103" y="15768"/>
                  </a:cubicBezTo>
                  <a:cubicBezTo>
                    <a:pt x="31828" y="15768"/>
                    <a:pt x="32103" y="16043"/>
                    <a:pt x="32326" y="15768"/>
                  </a:cubicBezTo>
                  <a:cubicBezTo>
                    <a:pt x="32299" y="15829"/>
                    <a:pt x="32250" y="15878"/>
                    <a:pt x="32189" y="15905"/>
                  </a:cubicBezTo>
                  <a:cubicBezTo>
                    <a:pt x="34078" y="15820"/>
                    <a:pt x="31656" y="15270"/>
                    <a:pt x="32704" y="14497"/>
                  </a:cubicBezTo>
                  <a:cubicBezTo>
                    <a:pt x="33082" y="15081"/>
                    <a:pt x="33202" y="14686"/>
                    <a:pt x="33031" y="14222"/>
                  </a:cubicBezTo>
                  <a:cubicBezTo>
                    <a:pt x="33031" y="14428"/>
                    <a:pt x="32739" y="14222"/>
                    <a:pt x="32842" y="14068"/>
                  </a:cubicBezTo>
                  <a:cubicBezTo>
                    <a:pt x="32532" y="14068"/>
                    <a:pt x="32842" y="13758"/>
                    <a:pt x="32842" y="13690"/>
                  </a:cubicBezTo>
                  <a:cubicBezTo>
                    <a:pt x="32842" y="13621"/>
                    <a:pt x="33082" y="13690"/>
                    <a:pt x="32979" y="13690"/>
                  </a:cubicBezTo>
                  <a:lnTo>
                    <a:pt x="33615" y="13793"/>
                  </a:lnTo>
                  <a:cubicBezTo>
                    <a:pt x="33426" y="13501"/>
                    <a:pt x="33615" y="13690"/>
                    <a:pt x="33752" y="13466"/>
                  </a:cubicBezTo>
                  <a:cubicBezTo>
                    <a:pt x="33889" y="13243"/>
                    <a:pt x="33305" y="13363"/>
                    <a:pt x="33546" y="13192"/>
                  </a:cubicBezTo>
                  <a:cubicBezTo>
                    <a:pt x="33546" y="13192"/>
                    <a:pt x="33426" y="13295"/>
                    <a:pt x="33408" y="13192"/>
                  </a:cubicBezTo>
                  <a:cubicBezTo>
                    <a:pt x="33408" y="13346"/>
                    <a:pt x="33099" y="13363"/>
                    <a:pt x="33031" y="13312"/>
                  </a:cubicBezTo>
                  <a:cubicBezTo>
                    <a:pt x="32962" y="13260"/>
                    <a:pt x="33031" y="13312"/>
                    <a:pt x="33031" y="13312"/>
                  </a:cubicBezTo>
                  <a:cubicBezTo>
                    <a:pt x="33031" y="13312"/>
                    <a:pt x="33031" y="13552"/>
                    <a:pt x="33031" y="13312"/>
                  </a:cubicBezTo>
                  <a:cubicBezTo>
                    <a:pt x="33031" y="13449"/>
                    <a:pt x="32601" y="13466"/>
                    <a:pt x="32567" y="13621"/>
                  </a:cubicBezTo>
                  <a:cubicBezTo>
                    <a:pt x="32567" y="13312"/>
                    <a:pt x="32412" y="13415"/>
                    <a:pt x="32172" y="13260"/>
                  </a:cubicBezTo>
                  <a:cubicBezTo>
                    <a:pt x="31931" y="13106"/>
                    <a:pt x="31691" y="12144"/>
                    <a:pt x="31914" y="12058"/>
                  </a:cubicBezTo>
                  <a:cubicBezTo>
                    <a:pt x="32137" y="11972"/>
                    <a:pt x="31914" y="11972"/>
                    <a:pt x="32017" y="12058"/>
                  </a:cubicBezTo>
                  <a:cubicBezTo>
                    <a:pt x="32120" y="12144"/>
                    <a:pt x="32017" y="11921"/>
                    <a:pt x="32017" y="11817"/>
                  </a:cubicBezTo>
                  <a:cubicBezTo>
                    <a:pt x="32017" y="11714"/>
                    <a:pt x="32240" y="11354"/>
                    <a:pt x="32309" y="11457"/>
                  </a:cubicBezTo>
                  <a:cubicBezTo>
                    <a:pt x="32103" y="11010"/>
                    <a:pt x="31708" y="11148"/>
                    <a:pt x="31502" y="11182"/>
                  </a:cubicBezTo>
                  <a:cubicBezTo>
                    <a:pt x="31622" y="11354"/>
                    <a:pt x="31502" y="11577"/>
                    <a:pt x="31656" y="11714"/>
                  </a:cubicBezTo>
                  <a:cubicBezTo>
                    <a:pt x="31532" y="12056"/>
                    <a:pt x="31318" y="12359"/>
                    <a:pt x="31038" y="12590"/>
                  </a:cubicBezTo>
                  <a:cubicBezTo>
                    <a:pt x="31158" y="12676"/>
                    <a:pt x="31038" y="12848"/>
                    <a:pt x="31175" y="12968"/>
                  </a:cubicBezTo>
                  <a:cubicBezTo>
                    <a:pt x="30883" y="13123"/>
                    <a:pt x="32189" y="13999"/>
                    <a:pt x="31382" y="13793"/>
                  </a:cubicBezTo>
                  <a:cubicBezTo>
                    <a:pt x="31382" y="13793"/>
                    <a:pt x="30901" y="13793"/>
                    <a:pt x="31210" y="13913"/>
                  </a:cubicBezTo>
                  <a:cubicBezTo>
                    <a:pt x="31519" y="14033"/>
                    <a:pt x="31811" y="14119"/>
                    <a:pt x="31485" y="14050"/>
                  </a:cubicBezTo>
                  <a:cubicBezTo>
                    <a:pt x="31485" y="14050"/>
                    <a:pt x="31485" y="14257"/>
                    <a:pt x="31364" y="14188"/>
                  </a:cubicBezTo>
                  <a:cubicBezTo>
                    <a:pt x="31244" y="14119"/>
                    <a:pt x="31467" y="14325"/>
                    <a:pt x="31364" y="14342"/>
                  </a:cubicBezTo>
                  <a:cubicBezTo>
                    <a:pt x="31485" y="14342"/>
                    <a:pt x="31519" y="14600"/>
                    <a:pt x="31364" y="14514"/>
                  </a:cubicBezTo>
                  <a:cubicBezTo>
                    <a:pt x="31502" y="14789"/>
                    <a:pt x="31519" y="15510"/>
                    <a:pt x="31090" y="15236"/>
                  </a:cubicBezTo>
                  <a:cubicBezTo>
                    <a:pt x="30815" y="16301"/>
                    <a:pt x="30059" y="14153"/>
                    <a:pt x="30162" y="14050"/>
                  </a:cubicBezTo>
                  <a:cubicBezTo>
                    <a:pt x="29990" y="13947"/>
                    <a:pt x="29939" y="13844"/>
                    <a:pt x="29939" y="13810"/>
                  </a:cubicBezTo>
                  <a:cubicBezTo>
                    <a:pt x="29958" y="13906"/>
                    <a:pt x="29958" y="14006"/>
                    <a:pt x="29939" y="14102"/>
                  </a:cubicBezTo>
                  <a:cubicBezTo>
                    <a:pt x="29939" y="14102"/>
                    <a:pt x="29939" y="14102"/>
                    <a:pt x="29733" y="13965"/>
                  </a:cubicBezTo>
                  <a:cubicBezTo>
                    <a:pt x="29733" y="14119"/>
                    <a:pt x="29733" y="14360"/>
                    <a:pt x="29595" y="14291"/>
                  </a:cubicBezTo>
                  <a:cubicBezTo>
                    <a:pt x="29733" y="14463"/>
                    <a:pt x="29286" y="14583"/>
                    <a:pt x="29183" y="14428"/>
                  </a:cubicBezTo>
                  <a:cubicBezTo>
                    <a:pt x="29080" y="14549"/>
                    <a:pt x="28651" y="14050"/>
                    <a:pt x="29183" y="14102"/>
                  </a:cubicBezTo>
                  <a:cubicBezTo>
                    <a:pt x="28960" y="14102"/>
                    <a:pt x="29183" y="13999"/>
                    <a:pt x="29011" y="13879"/>
                  </a:cubicBezTo>
                  <a:cubicBezTo>
                    <a:pt x="29011" y="14188"/>
                    <a:pt x="28771" y="13690"/>
                    <a:pt x="29011" y="13879"/>
                  </a:cubicBezTo>
                  <a:cubicBezTo>
                    <a:pt x="29252" y="14068"/>
                    <a:pt x="29011" y="13879"/>
                    <a:pt x="29166" y="13776"/>
                  </a:cubicBezTo>
                  <a:cubicBezTo>
                    <a:pt x="28960" y="13776"/>
                    <a:pt x="29166" y="13449"/>
                    <a:pt x="29166" y="13655"/>
                  </a:cubicBezTo>
                  <a:cubicBezTo>
                    <a:pt x="29118" y="13609"/>
                    <a:pt x="29118" y="13533"/>
                    <a:pt x="29164" y="13485"/>
                  </a:cubicBezTo>
                  <a:cubicBezTo>
                    <a:pt x="29165" y="13485"/>
                    <a:pt x="29165" y="13484"/>
                    <a:pt x="29166" y="13484"/>
                  </a:cubicBezTo>
                  <a:cubicBezTo>
                    <a:pt x="28943" y="13569"/>
                    <a:pt x="28822" y="13724"/>
                    <a:pt x="28943" y="13484"/>
                  </a:cubicBezTo>
                  <a:cubicBezTo>
                    <a:pt x="28788" y="13484"/>
                    <a:pt x="28736" y="13569"/>
                    <a:pt x="28943" y="13381"/>
                  </a:cubicBezTo>
                  <a:cubicBezTo>
                    <a:pt x="28599" y="13243"/>
                    <a:pt x="29544" y="13484"/>
                    <a:pt x="29355" y="13157"/>
                  </a:cubicBezTo>
                  <a:cubicBezTo>
                    <a:pt x="29355" y="13329"/>
                    <a:pt x="28582" y="13295"/>
                    <a:pt x="28994" y="13157"/>
                  </a:cubicBezTo>
                  <a:cubicBezTo>
                    <a:pt x="28651" y="13157"/>
                    <a:pt x="28994" y="13037"/>
                    <a:pt x="29183" y="13020"/>
                  </a:cubicBezTo>
                  <a:cubicBezTo>
                    <a:pt x="28822" y="13020"/>
                    <a:pt x="28754" y="12831"/>
                    <a:pt x="29046" y="12917"/>
                  </a:cubicBezTo>
                  <a:cubicBezTo>
                    <a:pt x="28960" y="12917"/>
                    <a:pt x="29046" y="12779"/>
                    <a:pt x="29183" y="12917"/>
                  </a:cubicBezTo>
                  <a:lnTo>
                    <a:pt x="29183" y="12797"/>
                  </a:lnTo>
                  <a:cubicBezTo>
                    <a:pt x="29183" y="12797"/>
                    <a:pt x="29183" y="12797"/>
                    <a:pt x="29441" y="12797"/>
                  </a:cubicBezTo>
                  <a:cubicBezTo>
                    <a:pt x="29114" y="12797"/>
                    <a:pt x="29303" y="12590"/>
                    <a:pt x="29578" y="12797"/>
                  </a:cubicBezTo>
                  <a:cubicBezTo>
                    <a:pt x="29217" y="12505"/>
                    <a:pt x="29578" y="12797"/>
                    <a:pt x="29578" y="12676"/>
                  </a:cubicBezTo>
                  <a:cubicBezTo>
                    <a:pt x="29578" y="12556"/>
                    <a:pt x="29922" y="12213"/>
                    <a:pt x="29767" y="12676"/>
                  </a:cubicBezTo>
                  <a:cubicBezTo>
                    <a:pt x="30007" y="12539"/>
                    <a:pt x="29973" y="12539"/>
                    <a:pt x="30059" y="12298"/>
                  </a:cubicBezTo>
                  <a:cubicBezTo>
                    <a:pt x="30145" y="12058"/>
                    <a:pt x="29784" y="12814"/>
                    <a:pt x="29801" y="12419"/>
                  </a:cubicBezTo>
                  <a:cubicBezTo>
                    <a:pt x="29664" y="12522"/>
                    <a:pt x="29801" y="12161"/>
                    <a:pt x="29801" y="12195"/>
                  </a:cubicBezTo>
                  <a:cubicBezTo>
                    <a:pt x="29801" y="12230"/>
                    <a:pt x="29990" y="12006"/>
                    <a:pt x="30145" y="11766"/>
                  </a:cubicBezTo>
                  <a:cubicBezTo>
                    <a:pt x="29990" y="11886"/>
                    <a:pt x="30059" y="11525"/>
                    <a:pt x="30145" y="11611"/>
                  </a:cubicBezTo>
                  <a:cubicBezTo>
                    <a:pt x="30231" y="11697"/>
                    <a:pt x="30145" y="11440"/>
                    <a:pt x="30145" y="11525"/>
                  </a:cubicBezTo>
                  <a:cubicBezTo>
                    <a:pt x="30042" y="11319"/>
                    <a:pt x="30145" y="11440"/>
                    <a:pt x="30145" y="11337"/>
                  </a:cubicBezTo>
                  <a:cubicBezTo>
                    <a:pt x="29939" y="11337"/>
                    <a:pt x="30145" y="11233"/>
                    <a:pt x="30025" y="11148"/>
                  </a:cubicBezTo>
                  <a:cubicBezTo>
                    <a:pt x="29904" y="11062"/>
                    <a:pt x="30025" y="10821"/>
                    <a:pt x="30334" y="10976"/>
                  </a:cubicBezTo>
                  <a:cubicBezTo>
                    <a:pt x="30179" y="10890"/>
                    <a:pt x="30111" y="10735"/>
                    <a:pt x="30334" y="10838"/>
                  </a:cubicBezTo>
                  <a:cubicBezTo>
                    <a:pt x="30557" y="10941"/>
                    <a:pt x="30162" y="10701"/>
                    <a:pt x="30334" y="10684"/>
                  </a:cubicBezTo>
                  <a:cubicBezTo>
                    <a:pt x="30042" y="10684"/>
                    <a:pt x="30334" y="10684"/>
                    <a:pt x="30334" y="10478"/>
                  </a:cubicBezTo>
                  <a:cubicBezTo>
                    <a:pt x="30523" y="10478"/>
                    <a:pt x="30488" y="10478"/>
                    <a:pt x="30506" y="10478"/>
                  </a:cubicBezTo>
                  <a:cubicBezTo>
                    <a:pt x="30918" y="10564"/>
                    <a:pt x="30214" y="10323"/>
                    <a:pt x="30506" y="10323"/>
                  </a:cubicBezTo>
                  <a:cubicBezTo>
                    <a:pt x="30506" y="10323"/>
                    <a:pt x="30506" y="10220"/>
                    <a:pt x="30506" y="10220"/>
                  </a:cubicBezTo>
                  <a:cubicBezTo>
                    <a:pt x="30506" y="10220"/>
                    <a:pt x="30506" y="9911"/>
                    <a:pt x="30609" y="10117"/>
                  </a:cubicBezTo>
                  <a:cubicBezTo>
                    <a:pt x="30712" y="10323"/>
                    <a:pt x="30609" y="10117"/>
                    <a:pt x="30609" y="10117"/>
                  </a:cubicBezTo>
                  <a:cubicBezTo>
                    <a:pt x="30385" y="9980"/>
                    <a:pt x="30609" y="10014"/>
                    <a:pt x="30609" y="10117"/>
                  </a:cubicBezTo>
                  <a:cubicBezTo>
                    <a:pt x="30609" y="10220"/>
                    <a:pt x="30609" y="9773"/>
                    <a:pt x="30609" y="10117"/>
                  </a:cubicBezTo>
                  <a:cubicBezTo>
                    <a:pt x="30609" y="9670"/>
                    <a:pt x="30609" y="10237"/>
                    <a:pt x="30798" y="10117"/>
                  </a:cubicBezTo>
                  <a:cubicBezTo>
                    <a:pt x="30609" y="9773"/>
                    <a:pt x="31021" y="10117"/>
                    <a:pt x="30798" y="9739"/>
                  </a:cubicBezTo>
                  <a:cubicBezTo>
                    <a:pt x="30901" y="9739"/>
                    <a:pt x="31038" y="9911"/>
                    <a:pt x="31124" y="9894"/>
                  </a:cubicBezTo>
                  <a:cubicBezTo>
                    <a:pt x="31210" y="9877"/>
                    <a:pt x="31124" y="9602"/>
                    <a:pt x="31124" y="9619"/>
                  </a:cubicBezTo>
                  <a:cubicBezTo>
                    <a:pt x="31124" y="9636"/>
                    <a:pt x="30969" y="9464"/>
                    <a:pt x="31124" y="9619"/>
                  </a:cubicBezTo>
                  <a:cubicBezTo>
                    <a:pt x="31279" y="9773"/>
                    <a:pt x="31124" y="9499"/>
                    <a:pt x="31124" y="9619"/>
                  </a:cubicBezTo>
                  <a:cubicBezTo>
                    <a:pt x="31244" y="9447"/>
                    <a:pt x="31279" y="10426"/>
                    <a:pt x="31261" y="9619"/>
                  </a:cubicBezTo>
                  <a:cubicBezTo>
                    <a:pt x="31536" y="10134"/>
                    <a:pt x="31261" y="9516"/>
                    <a:pt x="31450" y="9499"/>
                  </a:cubicBezTo>
                  <a:cubicBezTo>
                    <a:pt x="31639" y="9481"/>
                    <a:pt x="31450" y="9653"/>
                    <a:pt x="31553" y="9842"/>
                  </a:cubicBezTo>
                  <a:cubicBezTo>
                    <a:pt x="31656" y="10031"/>
                    <a:pt x="31639" y="9842"/>
                    <a:pt x="31674" y="9842"/>
                  </a:cubicBezTo>
                  <a:cubicBezTo>
                    <a:pt x="31502" y="9499"/>
                    <a:pt x="31863" y="9688"/>
                    <a:pt x="31845" y="9842"/>
                  </a:cubicBezTo>
                  <a:cubicBezTo>
                    <a:pt x="32172" y="9842"/>
                    <a:pt x="32051" y="10134"/>
                    <a:pt x="31742" y="10031"/>
                  </a:cubicBezTo>
                  <a:cubicBezTo>
                    <a:pt x="31845" y="10031"/>
                    <a:pt x="31948" y="10031"/>
                    <a:pt x="32000" y="10220"/>
                  </a:cubicBezTo>
                  <a:cubicBezTo>
                    <a:pt x="32051" y="10409"/>
                    <a:pt x="32120" y="10083"/>
                    <a:pt x="32275" y="10220"/>
                  </a:cubicBezTo>
                  <a:cubicBezTo>
                    <a:pt x="32275" y="10100"/>
                    <a:pt x="32275" y="10117"/>
                    <a:pt x="32275" y="10048"/>
                  </a:cubicBezTo>
                  <a:cubicBezTo>
                    <a:pt x="32275" y="9980"/>
                    <a:pt x="32653" y="10306"/>
                    <a:pt x="32378" y="10048"/>
                  </a:cubicBezTo>
                  <a:cubicBezTo>
                    <a:pt x="32378" y="10237"/>
                    <a:pt x="32567" y="10048"/>
                    <a:pt x="32584" y="10220"/>
                  </a:cubicBezTo>
                  <a:cubicBezTo>
                    <a:pt x="32601" y="10392"/>
                    <a:pt x="33220" y="10220"/>
                    <a:pt x="33683" y="10529"/>
                  </a:cubicBezTo>
                  <a:cubicBezTo>
                    <a:pt x="33563" y="10392"/>
                    <a:pt x="34044" y="10735"/>
                    <a:pt x="33804" y="10529"/>
                  </a:cubicBezTo>
                  <a:cubicBezTo>
                    <a:pt x="34697" y="10838"/>
                    <a:pt x="34611" y="11852"/>
                    <a:pt x="33597" y="11354"/>
                  </a:cubicBezTo>
                  <a:cubicBezTo>
                    <a:pt x="33477" y="11354"/>
                    <a:pt x="33477" y="11354"/>
                    <a:pt x="33426" y="11354"/>
                  </a:cubicBezTo>
                  <a:cubicBezTo>
                    <a:pt x="33374" y="11354"/>
                    <a:pt x="32910" y="11096"/>
                    <a:pt x="33065" y="11354"/>
                  </a:cubicBezTo>
                  <a:cubicBezTo>
                    <a:pt x="33220" y="11611"/>
                    <a:pt x="33460" y="11491"/>
                    <a:pt x="33357" y="11663"/>
                  </a:cubicBezTo>
                  <a:cubicBezTo>
                    <a:pt x="33632" y="11663"/>
                    <a:pt x="34834" y="13277"/>
                    <a:pt x="34576" y="12333"/>
                  </a:cubicBezTo>
                  <a:cubicBezTo>
                    <a:pt x="34388" y="12505"/>
                    <a:pt x="34113" y="12058"/>
                    <a:pt x="34250" y="12006"/>
                  </a:cubicBezTo>
                  <a:cubicBezTo>
                    <a:pt x="35693" y="12917"/>
                    <a:pt x="33975" y="11148"/>
                    <a:pt x="34972" y="11474"/>
                  </a:cubicBezTo>
                  <a:cubicBezTo>
                    <a:pt x="34972" y="11337"/>
                    <a:pt x="35092" y="11474"/>
                    <a:pt x="35143" y="11474"/>
                  </a:cubicBezTo>
                  <a:cubicBezTo>
                    <a:pt x="34895" y="11040"/>
                    <a:pt x="34569" y="10656"/>
                    <a:pt x="34181" y="10340"/>
                  </a:cubicBezTo>
                  <a:cubicBezTo>
                    <a:pt x="34491" y="10340"/>
                    <a:pt x="34972" y="10443"/>
                    <a:pt x="34800" y="10753"/>
                  </a:cubicBezTo>
                  <a:cubicBezTo>
                    <a:pt x="35195" y="11354"/>
                    <a:pt x="35349" y="10753"/>
                    <a:pt x="35143" y="10529"/>
                  </a:cubicBezTo>
                  <a:cubicBezTo>
                    <a:pt x="35315" y="10529"/>
                    <a:pt x="35143" y="9945"/>
                    <a:pt x="35401" y="10289"/>
                  </a:cubicBezTo>
                  <a:cubicBezTo>
                    <a:pt x="35401" y="10186"/>
                    <a:pt x="35178" y="9980"/>
                    <a:pt x="35401" y="10151"/>
                  </a:cubicBezTo>
                  <a:cubicBezTo>
                    <a:pt x="35229" y="9705"/>
                    <a:pt x="35521" y="10151"/>
                    <a:pt x="35727" y="10306"/>
                  </a:cubicBezTo>
                  <a:cubicBezTo>
                    <a:pt x="35727" y="10203"/>
                    <a:pt x="35727" y="10169"/>
                    <a:pt x="35727" y="10306"/>
                  </a:cubicBezTo>
                  <a:cubicBezTo>
                    <a:pt x="35504" y="10048"/>
                    <a:pt x="35882" y="10134"/>
                    <a:pt x="35830" y="9842"/>
                  </a:cubicBezTo>
                  <a:cubicBezTo>
                    <a:pt x="35951" y="9997"/>
                    <a:pt x="36311" y="10272"/>
                    <a:pt x="36019" y="9945"/>
                  </a:cubicBezTo>
                  <a:cubicBezTo>
                    <a:pt x="36191" y="9945"/>
                    <a:pt x="35916" y="9791"/>
                    <a:pt x="36122" y="9945"/>
                  </a:cubicBezTo>
                  <a:cubicBezTo>
                    <a:pt x="36035" y="9882"/>
                    <a:pt x="35943" y="9824"/>
                    <a:pt x="35848" y="9773"/>
                  </a:cubicBezTo>
                  <a:lnTo>
                    <a:pt x="35848" y="9773"/>
                  </a:lnTo>
                  <a:cubicBezTo>
                    <a:pt x="35057" y="9155"/>
                    <a:pt x="36586" y="9619"/>
                    <a:pt x="36981" y="9894"/>
                  </a:cubicBezTo>
                  <a:cubicBezTo>
                    <a:pt x="36792" y="9619"/>
                    <a:pt x="36517" y="9567"/>
                    <a:pt x="36260" y="9361"/>
                  </a:cubicBezTo>
                  <a:lnTo>
                    <a:pt x="36260" y="9361"/>
                  </a:lnTo>
                  <a:cubicBezTo>
                    <a:pt x="36260" y="9361"/>
                    <a:pt x="36260" y="9361"/>
                    <a:pt x="36140" y="9361"/>
                  </a:cubicBezTo>
                  <a:lnTo>
                    <a:pt x="36140" y="9361"/>
                  </a:lnTo>
                  <a:lnTo>
                    <a:pt x="35882" y="9155"/>
                  </a:lnTo>
                  <a:cubicBezTo>
                    <a:pt x="36019" y="9155"/>
                    <a:pt x="35624" y="8983"/>
                    <a:pt x="35727" y="8983"/>
                  </a:cubicBezTo>
                  <a:cubicBezTo>
                    <a:pt x="35504" y="8880"/>
                    <a:pt x="34353" y="7918"/>
                    <a:pt x="34594" y="7884"/>
                  </a:cubicBezTo>
                  <a:cubicBezTo>
                    <a:pt x="35435" y="8193"/>
                    <a:pt x="36311" y="9086"/>
                    <a:pt x="37136" y="9602"/>
                  </a:cubicBezTo>
                  <a:lnTo>
                    <a:pt x="37136" y="9602"/>
                  </a:lnTo>
                  <a:cubicBezTo>
                    <a:pt x="37389" y="9800"/>
                    <a:pt x="37614" y="10031"/>
                    <a:pt x="37806" y="10289"/>
                  </a:cubicBezTo>
                  <a:lnTo>
                    <a:pt x="37806" y="10289"/>
                  </a:lnTo>
                  <a:cubicBezTo>
                    <a:pt x="37995" y="10409"/>
                    <a:pt x="37977" y="10581"/>
                    <a:pt x="37806" y="10289"/>
                  </a:cubicBezTo>
                  <a:cubicBezTo>
                    <a:pt x="37806" y="10289"/>
                    <a:pt x="37479" y="10289"/>
                    <a:pt x="37703" y="10426"/>
                  </a:cubicBezTo>
                  <a:cubicBezTo>
                    <a:pt x="38939" y="10701"/>
                    <a:pt x="37256" y="9619"/>
                    <a:pt x="37101" y="9275"/>
                  </a:cubicBezTo>
                  <a:cubicBezTo>
                    <a:pt x="37101" y="9275"/>
                    <a:pt x="37101" y="9275"/>
                    <a:pt x="37101" y="9275"/>
                  </a:cubicBezTo>
                  <a:cubicBezTo>
                    <a:pt x="36284" y="8916"/>
                    <a:pt x="35525" y="8435"/>
                    <a:pt x="34851" y="7850"/>
                  </a:cubicBezTo>
                  <a:cubicBezTo>
                    <a:pt x="35229" y="8021"/>
                    <a:pt x="35573" y="8399"/>
                    <a:pt x="35933" y="8451"/>
                  </a:cubicBezTo>
                  <a:cubicBezTo>
                    <a:pt x="35796" y="8262"/>
                    <a:pt x="36208" y="8571"/>
                    <a:pt x="36105" y="8451"/>
                  </a:cubicBezTo>
                  <a:cubicBezTo>
                    <a:pt x="35827" y="8436"/>
                    <a:pt x="35564" y="8320"/>
                    <a:pt x="35367" y="8125"/>
                  </a:cubicBezTo>
                  <a:cubicBezTo>
                    <a:pt x="35727" y="8279"/>
                    <a:pt x="35367" y="8125"/>
                    <a:pt x="35367" y="8039"/>
                  </a:cubicBezTo>
                  <a:lnTo>
                    <a:pt x="35367" y="8039"/>
                  </a:lnTo>
                  <a:cubicBezTo>
                    <a:pt x="34886" y="7455"/>
                    <a:pt x="37084" y="8880"/>
                    <a:pt x="36363" y="8331"/>
                  </a:cubicBezTo>
                  <a:cubicBezTo>
                    <a:pt x="36637" y="8531"/>
                    <a:pt x="36938" y="8693"/>
                    <a:pt x="37256" y="8812"/>
                  </a:cubicBezTo>
                  <a:cubicBezTo>
                    <a:pt x="36947" y="8605"/>
                    <a:pt x="37256" y="8691"/>
                    <a:pt x="37428" y="8812"/>
                  </a:cubicBezTo>
                  <a:cubicBezTo>
                    <a:pt x="37325" y="8709"/>
                    <a:pt x="37033" y="8588"/>
                    <a:pt x="37101" y="8709"/>
                  </a:cubicBezTo>
                  <a:cubicBezTo>
                    <a:pt x="36569" y="8468"/>
                    <a:pt x="36019" y="8056"/>
                    <a:pt x="35384" y="7798"/>
                  </a:cubicBezTo>
                  <a:cubicBezTo>
                    <a:pt x="35212" y="7798"/>
                    <a:pt x="34405" y="7403"/>
                    <a:pt x="34525" y="7231"/>
                  </a:cubicBezTo>
                  <a:cubicBezTo>
                    <a:pt x="34284" y="6922"/>
                    <a:pt x="34697" y="7334"/>
                    <a:pt x="34851" y="7317"/>
                  </a:cubicBezTo>
                  <a:cubicBezTo>
                    <a:pt x="34628" y="7317"/>
                    <a:pt x="34491" y="7042"/>
                    <a:pt x="34267" y="7008"/>
                  </a:cubicBezTo>
                  <a:cubicBezTo>
                    <a:pt x="34044" y="6974"/>
                    <a:pt x="34061" y="7008"/>
                    <a:pt x="34027" y="6922"/>
                  </a:cubicBezTo>
                  <a:cubicBezTo>
                    <a:pt x="33992" y="6836"/>
                    <a:pt x="34130" y="6922"/>
                    <a:pt x="34027" y="6922"/>
                  </a:cubicBezTo>
                  <a:cubicBezTo>
                    <a:pt x="33924" y="6922"/>
                    <a:pt x="33838" y="6836"/>
                    <a:pt x="33872" y="6922"/>
                  </a:cubicBezTo>
                  <a:cubicBezTo>
                    <a:pt x="33907" y="7008"/>
                    <a:pt x="33683" y="6802"/>
                    <a:pt x="33872" y="6922"/>
                  </a:cubicBezTo>
                  <a:lnTo>
                    <a:pt x="33615" y="6768"/>
                  </a:lnTo>
                  <a:cubicBezTo>
                    <a:pt x="33615" y="6768"/>
                    <a:pt x="33615" y="6768"/>
                    <a:pt x="33615" y="6768"/>
                  </a:cubicBezTo>
                  <a:lnTo>
                    <a:pt x="33168" y="6458"/>
                  </a:lnTo>
                  <a:lnTo>
                    <a:pt x="33168" y="6458"/>
                  </a:lnTo>
                  <a:cubicBezTo>
                    <a:pt x="33086" y="6395"/>
                    <a:pt x="33000" y="6338"/>
                    <a:pt x="32910" y="6287"/>
                  </a:cubicBezTo>
                  <a:lnTo>
                    <a:pt x="32910" y="6287"/>
                  </a:lnTo>
                  <a:lnTo>
                    <a:pt x="32910" y="6287"/>
                  </a:lnTo>
                  <a:lnTo>
                    <a:pt x="32910" y="6287"/>
                  </a:lnTo>
                  <a:lnTo>
                    <a:pt x="32687" y="6184"/>
                  </a:lnTo>
                  <a:lnTo>
                    <a:pt x="32687" y="6184"/>
                  </a:lnTo>
                  <a:cubicBezTo>
                    <a:pt x="32687" y="6184"/>
                    <a:pt x="32515" y="6184"/>
                    <a:pt x="32687" y="6184"/>
                  </a:cubicBezTo>
                  <a:lnTo>
                    <a:pt x="32687" y="6184"/>
                  </a:lnTo>
                  <a:lnTo>
                    <a:pt x="32687" y="6184"/>
                  </a:lnTo>
                  <a:lnTo>
                    <a:pt x="32962" y="6287"/>
                  </a:lnTo>
                  <a:lnTo>
                    <a:pt x="32739" y="6184"/>
                  </a:lnTo>
                  <a:lnTo>
                    <a:pt x="32893" y="6184"/>
                  </a:lnTo>
                  <a:lnTo>
                    <a:pt x="32807" y="6184"/>
                  </a:lnTo>
                  <a:cubicBezTo>
                    <a:pt x="32762" y="6174"/>
                    <a:pt x="32715" y="6174"/>
                    <a:pt x="32670" y="6184"/>
                  </a:cubicBezTo>
                  <a:lnTo>
                    <a:pt x="32670" y="6184"/>
                  </a:lnTo>
                  <a:cubicBezTo>
                    <a:pt x="32625" y="6193"/>
                    <a:pt x="32578" y="6193"/>
                    <a:pt x="32532" y="6184"/>
                  </a:cubicBezTo>
                  <a:lnTo>
                    <a:pt x="32876" y="6304"/>
                  </a:lnTo>
                  <a:cubicBezTo>
                    <a:pt x="32750" y="6242"/>
                    <a:pt x="32618" y="6196"/>
                    <a:pt x="32481" y="6166"/>
                  </a:cubicBezTo>
                  <a:lnTo>
                    <a:pt x="32481" y="6166"/>
                  </a:lnTo>
                  <a:cubicBezTo>
                    <a:pt x="32481" y="6166"/>
                    <a:pt x="32292" y="6166"/>
                    <a:pt x="32343" y="6166"/>
                  </a:cubicBezTo>
                  <a:cubicBezTo>
                    <a:pt x="32395" y="6166"/>
                    <a:pt x="32343" y="6166"/>
                    <a:pt x="32343" y="6166"/>
                  </a:cubicBezTo>
                  <a:lnTo>
                    <a:pt x="32343" y="6166"/>
                  </a:lnTo>
                  <a:lnTo>
                    <a:pt x="32206" y="6166"/>
                  </a:lnTo>
                  <a:lnTo>
                    <a:pt x="32206" y="6166"/>
                  </a:lnTo>
                  <a:lnTo>
                    <a:pt x="31742" y="6029"/>
                  </a:lnTo>
                  <a:lnTo>
                    <a:pt x="31742" y="6029"/>
                  </a:lnTo>
                  <a:cubicBezTo>
                    <a:pt x="31571" y="6029"/>
                    <a:pt x="30763" y="5720"/>
                    <a:pt x="30952" y="5754"/>
                  </a:cubicBezTo>
                  <a:lnTo>
                    <a:pt x="30952" y="5754"/>
                  </a:lnTo>
                  <a:lnTo>
                    <a:pt x="31055" y="5754"/>
                  </a:lnTo>
                  <a:lnTo>
                    <a:pt x="31055" y="5754"/>
                  </a:lnTo>
                  <a:cubicBezTo>
                    <a:pt x="31244" y="5754"/>
                    <a:pt x="31416" y="5857"/>
                    <a:pt x="31605" y="5909"/>
                  </a:cubicBezTo>
                  <a:lnTo>
                    <a:pt x="31416" y="5909"/>
                  </a:lnTo>
                  <a:lnTo>
                    <a:pt x="31588" y="5909"/>
                  </a:lnTo>
                  <a:lnTo>
                    <a:pt x="31485" y="5909"/>
                  </a:lnTo>
                  <a:cubicBezTo>
                    <a:pt x="31588" y="5909"/>
                    <a:pt x="31364" y="5909"/>
                    <a:pt x="31485" y="5909"/>
                  </a:cubicBezTo>
                  <a:lnTo>
                    <a:pt x="31485" y="5909"/>
                  </a:lnTo>
                  <a:cubicBezTo>
                    <a:pt x="31794" y="5995"/>
                    <a:pt x="32481" y="6201"/>
                    <a:pt x="31811" y="5909"/>
                  </a:cubicBezTo>
                  <a:lnTo>
                    <a:pt x="31811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1708" y="5909"/>
                  </a:lnTo>
                  <a:lnTo>
                    <a:pt x="32292" y="6046"/>
                  </a:lnTo>
                  <a:lnTo>
                    <a:pt x="32051" y="6046"/>
                  </a:lnTo>
                  <a:lnTo>
                    <a:pt x="32378" y="6046"/>
                  </a:lnTo>
                  <a:lnTo>
                    <a:pt x="32635" y="6046"/>
                  </a:lnTo>
                  <a:lnTo>
                    <a:pt x="32635" y="6046"/>
                  </a:lnTo>
                  <a:cubicBezTo>
                    <a:pt x="32412" y="6046"/>
                    <a:pt x="32635" y="6046"/>
                    <a:pt x="32773" y="6046"/>
                  </a:cubicBezTo>
                  <a:lnTo>
                    <a:pt x="32773" y="6046"/>
                  </a:lnTo>
                  <a:lnTo>
                    <a:pt x="32773" y="6046"/>
                  </a:lnTo>
                  <a:cubicBezTo>
                    <a:pt x="33198" y="6156"/>
                    <a:pt x="33612" y="6306"/>
                    <a:pt x="34010" y="6493"/>
                  </a:cubicBezTo>
                  <a:cubicBezTo>
                    <a:pt x="34010" y="6493"/>
                    <a:pt x="34010" y="6493"/>
                    <a:pt x="34010" y="6493"/>
                  </a:cubicBezTo>
                  <a:cubicBezTo>
                    <a:pt x="34010" y="6493"/>
                    <a:pt x="34456" y="6665"/>
                    <a:pt x="34645" y="6768"/>
                  </a:cubicBezTo>
                  <a:lnTo>
                    <a:pt x="34645" y="6768"/>
                  </a:lnTo>
                  <a:lnTo>
                    <a:pt x="35470" y="7163"/>
                  </a:lnTo>
                  <a:cubicBezTo>
                    <a:pt x="35212" y="7025"/>
                    <a:pt x="34954" y="6871"/>
                    <a:pt x="34662" y="6733"/>
                  </a:cubicBezTo>
                  <a:lnTo>
                    <a:pt x="34662" y="6733"/>
                  </a:lnTo>
                  <a:lnTo>
                    <a:pt x="34353" y="6596"/>
                  </a:lnTo>
                  <a:lnTo>
                    <a:pt x="34491" y="6596"/>
                  </a:lnTo>
                  <a:cubicBezTo>
                    <a:pt x="34491" y="6596"/>
                    <a:pt x="34044" y="6441"/>
                    <a:pt x="34250" y="6493"/>
                  </a:cubicBezTo>
                  <a:lnTo>
                    <a:pt x="34113" y="6493"/>
                  </a:lnTo>
                  <a:lnTo>
                    <a:pt x="34422" y="6596"/>
                  </a:lnTo>
                  <a:cubicBezTo>
                    <a:pt x="34327" y="6538"/>
                    <a:pt x="34222" y="6497"/>
                    <a:pt x="34113" y="6476"/>
                  </a:cubicBezTo>
                  <a:cubicBezTo>
                    <a:pt x="34287" y="6517"/>
                    <a:pt x="34459" y="6568"/>
                    <a:pt x="34628" y="6630"/>
                  </a:cubicBezTo>
                  <a:lnTo>
                    <a:pt x="34473" y="6630"/>
                  </a:lnTo>
                  <a:lnTo>
                    <a:pt x="34473" y="6630"/>
                  </a:lnTo>
                  <a:lnTo>
                    <a:pt x="33700" y="4827"/>
                  </a:lnTo>
                  <a:cubicBezTo>
                    <a:pt x="42679" y="7791"/>
                    <a:pt x="48892" y="15993"/>
                    <a:pt x="49314" y="25438"/>
                  </a:cubicBezTo>
                  <a:cubicBezTo>
                    <a:pt x="49301" y="25780"/>
                    <a:pt x="49255" y="26119"/>
                    <a:pt x="49177" y="26452"/>
                  </a:cubicBezTo>
                  <a:cubicBezTo>
                    <a:pt x="49245" y="26349"/>
                    <a:pt x="49159" y="26538"/>
                    <a:pt x="49159" y="26589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6;p14"/>
            <p:cNvSpPr/>
            <p:nvPr/>
          </p:nvSpPr>
          <p:spPr>
            <a:xfrm rot="-5400000">
              <a:off x="12026199" y="6563439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7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7" y="0"/>
                  </a:lnTo>
                  <a:close/>
                  <a:moveTo>
                    <a:pt x="0" y="17984"/>
                  </a:moveTo>
                  <a:lnTo>
                    <a:pt x="13277" y="17984"/>
                  </a:lnTo>
                  <a:lnTo>
                    <a:pt x="13277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14"/>
            <p:cNvSpPr/>
            <p:nvPr/>
          </p:nvSpPr>
          <p:spPr>
            <a:xfrm rot="-5400000">
              <a:off x="12018640" y="6529825"/>
              <a:ext cx="45208" cy="51256"/>
            </a:xfrm>
            <a:custGeom>
              <a:avLst/>
              <a:gdLst/>
              <a:ahLst/>
              <a:cxnLst/>
              <a:rect l="l" t="t" r="r" b="b"/>
              <a:pathLst>
                <a:path w="45208" h="51256" extrusionOk="0">
                  <a:moveTo>
                    <a:pt x="40279" y="4038"/>
                  </a:moveTo>
                  <a:cubicBezTo>
                    <a:pt x="43565" y="6752"/>
                    <a:pt x="45209" y="11246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892" y="18712"/>
                    <a:pt x="31535" y="16642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09" y="10574"/>
                    <a:pt x="15832" y="12861"/>
                    <a:pt x="14360" y="16525"/>
                  </a:cubicBezTo>
                  <a:cubicBezTo>
                    <a:pt x="13437" y="18959"/>
                    <a:pt x="13005" y="21550"/>
                    <a:pt x="13089" y="24152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39" y="6498"/>
                    <a:pt x="15548" y="4617"/>
                    <a:pt x="17434" y="3042"/>
                  </a:cubicBezTo>
                  <a:cubicBezTo>
                    <a:pt x="20409" y="938"/>
                    <a:pt x="23996" y="-125"/>
                    <a:pt x="27637" y="19"/>
                  </a:cubicBezTo>
                  <a:cubicBezTo>
                    <a:pt x="32194" y="-181"/>
                    <a:pt x="36674" y="1243"/>
                    <a:pt x="40279" y="4038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14"/>
            <p:cNvSpPr/>
            <p:nvPr/>
          </p:nvSpPr>
          <p:spPr>
            <a:xfrm rot="-5400000">
              <a:off x="12018195" y="6477145"/>
              <a:ext cx="28942" cy="68414"/>
            </a:xfrm>
            <a:custGeom>
              <a:avLst/>
              <a:gdLst/>
              <a:ahLst/>
              <a:cxnLst/>
              <a:rect l="l" t="t" r="r" b="b"/>
              <a:pathLst>
                <a:path w="28942" h="68414" extrusionOk="0">
                  <a:moveTo>
                    <a:pt x="25868" y="0"/>
                  </a:moveTo>
                  <a:lnTo>
                    <a:pt x="28616" y="206"/>
                  </a:lnTo>
                  <a:lnTo>
                    <a:pt x="28616" y="10941"/>
                  </a:lnTo>
                  <a:cubicBezTo>
                    <a:pt x="27390" y="10808"/>
                    <a:pt x="26157" y="10739"/>
                    <a:pt x="24923" y="10735"/>
                  </a:cubicBezTo>
                  <a:cubicBezTo>
                    <a:pt x="23616" y="10538"/>
                    <a:pt x="22290" y="10956"/>
                    <a:pt x="21333" y="11869"/>
                  </a:cubicBezTo>
                  <a:cubicBezTo>
                    <a:pt x="20704" y="12627"/>
                    <a:pt x="20358" y="13580"/>
                    <a:pt x="20354" y="14566"/>
                  </a:cubicBezTo>
                  <a:lnTo>
                    <a:pt x="20354" y="18791"/>
                  </a:lnTo>
                  <a:lnTo>
                    <a:pt x="28943" y="18791"/>
                  </a:lnTo>
                  <a:lnTo>
                    <a:pt x="28943" y="28032"/>
                  </a:lnTo>
                  <a:lnTo>
                    <a:pt x="20354" y="28032"/>
                  </a:lnTo>
                  <a:lnTo>
                    <a:pt x="20354" y="68414"/>
                  </a:lnTo>
                  <a:lnTo>
                    <a:pt x="7352" y="68414"/>
                  </a:lnTo>
                  <a:lnTo>
                    <a:pt x="7352" y="28032"/>
                  </a:lnTo>
                  <a:lnTo>
                    <a:pt x="0" y="28032"/>
                  </a:lnTo>
                  <a:lnTo>
                    <a:pt x="0" y="18791"/>
                  </a:lnTo>
                  <a:lnTo>
                    <a:pt x="7163" y="18791"/>
                  </a:lnTo>
                  <a:lnTo>
                    <a:pt x="7163" y="15579"/>
                  </a:lnTo>
                  <a:cubicBezTo>
                    <a:pt x="7163" y="10220"/>
                    <a:pt x="8067" y="6527"/>
                    <a:pt x="9877" y="4500"/>
                  </a:cubicBezTo>
                  <a:cubicBezTo>
                    <a:pt x="11783" y="1494"/>
                    <a:pt x="16352" y="0"/>
                    <a:pt x="23618" y="0"/>
                  </a:cubicBezTo>
                  <a:cubicBezTo>
                    <a:pt x="24442" y="0"/>
                    <a:pt x="25198" y="0"/>
                    <a:pt x="25868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19;p14"/>
            <p:cNvSpPr/>
            <p:nvPr/>
          </p:nvSpPr>
          <p:spPr>
            <a:xfrm rot="-5400000">
              <a:off x="12016830" y="6161182"/>
              <a:ext cx="49036" cy="51048"/>
            </a:xfrm>
            <a:custGeom>
              <a:avLst/>
              <a:gdLst/>
              <a:ahLst/>
              <a:cxnLst/>
              <a:rect l="l" t="t" r="r" b="b"/>
              <a:pathLst>
                <a:path w="49036" h="51048" extrusionOk="0">
                  <a:moveTo>
                    <a:pt x="42949" y="43542"/>
                  </a:moveTo>
                  <a:cubicBezTo>
                    <a:pt x="38907" y="48535"/>
                    <a:pt x="32763" y="51037"/>
                    <a:pt x="24519" y="51049"/>
                  </a:cubicBezTo>
                  <a:cubicBezTo>
                    <a:pt x="16274" y="51060"/>
                    <a:pt x="10125" y="48558"/>
                    <a:pt x="6071" y="43542"/>
                  </a:cubicBezTo>
                  <a:cubicBezTo>
                    <a:pt x="2000" y="38452"/>
                    <a:pt x="-145" y="32091"/>
                    <a:pt x="8" y="25576"/>
                  </a:cubicBezTo>
                  <a:cubicBezTo>
                    <a:pt x="-130" y="19058"/>
                    <a:pt x="2016" y="12697"/>
                    <a:pt x="6071" y="7592"/>
                  </a:cubicBezTo>
                  <a:cubicBezTo>
                    <a:pt x="10125" y="2519"/>
                    <a:pt x="16274" y="-11"/>
                    <a:pt x="24519" y="0"/>
                  </a:cubicBezTo>
                  <a:cubicBezTo>
                    <a:pt x="32763" y="12"/>
                    <a:pt x="38907" y="2542"/>
                    <a:pt x="42949" y="7592"/>
                  </a:cubicBezTo>
                  <a:cubicBezTo>
                    <a:pt x="47010" y="12695"/>
                    <a:pt x="49160" y="19056"/>
                    <a:pt x="49030" y="25576"/>
                  </a:cubicBezTo>
                  <a:cubicBezTo>
                    <a:pt x="49177" y="32093"/>
                    <a:pt x="47023" y="38454"/>
                    <a:pt x="42949" y="43542"/>
                  </a:cubicBezTo>
                  <a:close/>
                  <a:moveTo>
                    <a:pt x="32918" y="36672"/>
                  </a:moveTo>
                  <a:cubicBezTo>
                    <a:pt x="35077" y="33390"/>
                    <a:pt x="36115" y="29497"/>
                    <a:pt x="35872" y="25576"/>
                  </a:cubicBezTo>
                  <a:cubicBezTo>
                    <a:pt x="36123" y="21654"/>
                    <a:pt x="35086" y="17758"/>
                    <a:pt x="32918" y="14480"/>
                  </a:cubicBezTo>
                  <a:cubicBezTo>
                    <a:pt x="28893" y="9808"/>
                    <a:pt x="21844" y="9283"/>
                    <a:pt x="17172" y="13307"/>
                  </a:cubicBezTo>
                  <a:cubicBezTo>
                    <a:pt x="16753" y="13668"/>
                    <a:pt x="16360" y="14060"/>
                    <a:pt x="15999" y="14480"/>
                  </a:cubicBezTo>
                  <a:cubicBezTo>
                    <a:pt x="13826" y="17756"/>
                    <a:pt x="12782" y="21652"/>
                    <a:pt x="13027" y="25576"/>
                  </a:cubicBezTo>
                  <a:cubicBezTo>
                    <a:pt x="12782" y="29510"/>
                    <a:pt x="13824" y="33418"/>
                    <a:pt x="15999" y="36706"/>
                  </a:cubicBezTo>
                  <a:cubicBezTo>
                    <a:pt x="19994" y="41378"/>
                    <a:pt x="27020" y="41927"/>
                    <a:pt x="31692" y="37932"/>
                  </a:cubicBezTo>
                  <a:cubicBezTo>
                    <a:pt x="32131" y="37556"/>
                    <a:pt x="32542" y="37146"/>
                    <a:pt x="32918" y="367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20;p14"/>
            <p:cNvSpPr/>
            <p:nvPr/>
          </p:nvSpPr>
          <p:spPr>
            <a:xfrm rot="-5400000">
              <a:off x="12005374" y="6370523"/>
              <a:ext cx="71791" cy="51205"/>
            </a:xfrm>
            <a:custGeom>
              <a:avLst/>
              <a:gdLst/>
              <a:ahLst/>
              <a:cxnLst/>
              <a:rect l="l" t="t" r="r" b="b"/>
              <a:pathLst>
                <a:path w="71791" h="51205" extrusionOk="0">
                  <a:moveTo>
                    <a:pt x="62643" y="1307"/>
                  </a:moveTo>
                  <a:cubicBezTo>
                    <a:pt x="64938" y="2282"/>
                    <a:pt x="66944" y="3832"/>
                    <a:pt x="68466" y="5808"/>
                  </a:cubicBezTo>
                  <a:cubicBezTo>
                    <a:pt x="69936" y="7685"/>
                    <a:pt x="70917" y="9898"/>
                    <a:pt x="71317" y="12249"/>
                  </a:cubicBezTo>
                  <a:cubicBezTo>
                    <a:pt x="71680" y="14693"/>
                    <a:pt x="71834" y="17164"/>
                    <a:pt x="71781" y="19635"/>
                  </a:cubicBezTo>
                  <a:lnTo>
                    <a:pt x="71781" y="51205"/>
                  </a:lnTo>
                  <a:lnTo>
                    <a:pt x="58349" y="51205"/>
                  </a:lnTo>
                  <a:lnTo>
                    <a:pt x="58349" y="19308"/>
                  </a:lnTo>
                  <a:cubicBezTo>
                    <a:pt x="58414" y="17701"/>
                    <a:pt x="58101" y="16101"/>
                    <a:pt x="57438" y="14636"/>
                  </a:cubicBezTo>
                  <a:cubicBezTo>
                    <a:pt x="56188" y="12289"/>
                    <a:pt x="53642" y="10931"/>
                    <a:pt x="50997" y="11201"/>
                  </a:cubicBezTo>
                  <a:cubicBezTo>
                    <a:pt x="47802" y="10957"/>
                    <a:pt x="44803" y="12763"/>
                    <a:pt x="43525" y="15701"/>
                  </a:cubicBezTo>
                  <a:cubicBezTo>
                    <a:pt x="42766" y="17522"/>
                    <a:pt x="42404" y="19483"/>
                    <a:pt x="42460" y="21455"/>
                  </a:cubicBezTo>
                  <a:lnTo>
                    <a:pt x="42460" y="51205"/>
                  </a:lnTo>
                  <a:lnTo>
                    <a:pt x="29269" y="51205"/>
                  </a:lnTo>
                  <a:lnTo>
                    <a:pt x="29269" y="21387"/>
                  </a:lnTo>
                  <a:cubicBezTo>
                    <a:pt x="29389" y="19189"/>
                    <a:pt x="29080" y="16990"/>
                    <a:pt x="28359" y="14911"/>
                  </a:cubicBezTo>
                  <a:cubicBezTo>
                    <a:pt x="27192" y="12446"/>
                    <a:pt x="24595" y="10986"/>
                    <a:pt x="21883" y="11270"/>
                  </a:cubicBezTo>
                  <a:cubicBezTo>
                    <a:pt x="18138" y="11270"/>
                    <a:pt x="15626" y="12484"/>
                    <a:pt x="14342" y="14911"/>
                  </a:cubicBezTo>
                  <a:cubicBezTo>
                    <a:pt x="13527" y="16854"/>
                    <a:pt x="13162" y="18956"/>
                    <a:pt x="13277" y="21060"/>
                  </a:cubicBezTo>
                  <a:lnTo>
                    <a:pt x="13277" y="51205"/>
                  </a:lnTo>
                  <a:lnTo>
                    <a:pt x="0" y="51205"/>
                  </a:lnTo>
                  <a:lnTo>
                    <a:pt x="0" y="1221"/>
                  </a:lnTo>
                  <a:lnTo>
                    <a:pt x="12728" y="1221"/>
                  </a:lnTo>
                  <a:lnTo>
                    <a:pt x="12728" y="8556"/>
                  </a:lnTo>
                  <a:cubicBezTo>
                    <a:pt x="13930" y="6449"/>
                    <a:pt x="15488" y="4567"/>
                    <a:pt x="17331" y="2991"/>
                  </a:cubicBezTo>
                  <a:cubicBezTo>
                    <a:pt x="23120" y="-769"/>
                    <a:pt x="30538" y="-929"/>
                    <a:pt x="36483" y="2578"/>
                  </a:cubicBezTo>
                  <a:cubicBezTo>
                    <a:pt x="38381" y="4179"/>
                    <a:pt x="39841" y="6236"/>
                    <a:pt x="40726" y="8556"/>
                  </a:cubicBezTo>
                  <a:cubicBezTo>
                    <a:pt x="42206" y="5843"/>
                    <a:pt x="44413" y="3595"/>
                    <a:pt x="47098" y="2063"/>
                  </a:cubicBezTo>
                  <a:cubicBezTo>
                    <a:pt x="49896" y="665"/>
                    <a:pt x="52988" y="-42"/>
                    <a:pt x="56116" y="2"/>
                  </a:cubicBezTo>
                  <a:cubicBezTo>
                    <a:pt x="58356" y="15"/>
                    <a:pt x="60571" y="458"/>
                    <a:pt x="62643" y="130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14"/>
            <p:cNvSpPr/>
            <p:nvPr/>
          </p:nvSpPr>
          <p:spPr>
            <a:xfrm rot="-5400000">
              <a:off x="12026199" y="6307354"/>
              <a:ext cx="13277" cy="68070"/>
            </a:xfrm>
            <a:custGeom>
              <a:avLst/>
              <a:gdLst/>
              <a:ahLst/>
              <a:cxnLst/>
              <a:rect l="l" t="t" r="r" b="b"/>
              <a:pathLst>
                <a:path w="13277" h="68070" extrusionOk="0">
                  <a:moveTo>
                    <a:pt x="13278" y="12024"/>
                  </a:moveTo>
                  <a:lnTo>
                    <a:pt x="0" y="12024"/>
                  </a:lnTo>
                  <a:lnTo>
                    <a:pt x="0" y="0"/>
                  </a:lnTo>
                  <a:lnTo>
                    <a:pt x="13278" y="0"/>
                  </a:lnTo>
                  <a:close/>
                  <a:moveTo>
                    <a:pt x="0" y="17984"/>
                  </a:moveTo>
                  <a:lnTo>
                    <a:pt x="13278" y="17984"/>
                  </a:lnTo>
                  <a:lnTo>
                    <a:pt x="13278" y="68070"/>
                  </a:lnTo>
                  <a:lnTo>
                    <a:pt x="0" y="6807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22;p14"/>
            <p:cNvSpPr/>
            <p:nvPr/>
          </p:nvSpPr>
          <p:spPr>
            <a:xfrm rot="-5400000">
              <a:off x="12018641" y="6273739"/>
              <a:ext cx="45208" cy="51255"/>
            </a:xfrm>
            <a:custGeom>
              <a:avLst/>
              <a:gdLst/>
              <a:ahLst/>
              <a:cxnLst/>
              <a:rect l="l" t="t" r="r" b="b"/>
              <a:pathLst>
                <a:path w="45208" h="51255" extrusionOk="0">
                  <a:moveTo>
                    <a:pt x="40296" y="4038"/>
                  </a:moveTo>
                  <a:cubicBezTo>
                    <a:pt x="43560" y="6752"/>
                    <a:pt x="45209" y="11252"/>
                    <a:pt x="45209" y="17521"/>
                  </a:cubicBezTo>
                  <a:lnTo>
                    <a:pt x="45209" y="51256"/>
                  </a:lnTo>
                  <a:lnTo>
                    <a:pt x="31794" y="51256"/>
                  </a:lnTo>
                  <a:lnTo>
                    <a:pt x="31794" y="20785"/>
                  </a:lnTo>
                  <a:cubicBezTo>
                    <a:pt x="31900" y="18711"/>
                    <a:pt x="31543" y="16639"/>
                    <a:pt x="30746" y="14722"/>
                  </a:cubicBezTo>
                  <a:cubicBezTo>
                    <a:pt x="29458" y="12162"/>
                    <a:pt x="27036" y="10874"/>
                    <a:pt x="23446" y="10874"/>
                  </a:cubicBezTo>
                  <a:cubicBezTo>
                    <a:pt x="19511" y="10565"/>
                    <a:pt x="15833" y="12857"/>
                    <a:pt x="14377" y="16525"/>
                  </a:cubicBezTo>
                  <a:cubicBezTo>
                    <a:pt x="13439" y="18955"/>
                    <a:pt x="13001" y="21549"/>
                    <a:pt x="13089" y="24151"/>
                  </a:cubicBezTo>
                  <a:lnTo>
                    <a:pt x="13089" y="51256"/>
                  </a:lnTo>
                  <a:lnTo>
                    <a:pt x="0" y="51256"/>
                  </a:lnTo>
                  <a:lnTo>
                    <a:pt x="0" y="1272"/>
                  </a:lnTo>
                  <a:lnTo>
                    <a:pt x="12676" y="1272"/>
                  </a:lnTo>
                  <a:lnTo>
                    <a:pt x="12676" y="8607"/>
                  </a:lnTo>
                  <a:cubicBezTo>
                    <a:pt x="13946" y="6502"/>
                    <a:pt x="15553" y="4622"/>
                    <a:pt x="17434" y="3042"/>
                  </a:cubicBezTo>
                  <a:cubicBezTo>
                    <a:pt x="20409" y="938"/>
                    <a:pt x="23996" y="-125"/>
                    <a:pt x="27637" y="18"/>
                  </a:cubicBezTo>
                  <a:cubicBezTo>
                    <a:pt x="32199" y="-181"/>
                    <a:pt x="36684" y="1243"/>
                    <a:pt x="40296" y="403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23;p14"/>
            <p:cNvSpPr/>
            <p:nvPr/>
          </p:nvSpPr>
          <p:spPr>
            <a:xfrm rot="-5400000">
              <a:off x="12017163" y="6218687"/>
              <a:ext cx="48082" cy="51510"/>
            </a:xfrm>
            <a:custGeom>
              <a:avLst/>
              <a:gdLst/>
              <a:ahLst/>
              <a:cxnLst/>
              <a:rect l="l" t="t" r="r" b="b"/>
              <a:pathLst>
                <a:path w="48082" h="51510" extrusionOk="0">
                  <a:moveTo>
                    <a:pt x="35384" y="2281"/>
                  </a:moveTo>
                  <a:cubicBezTo>
                    <a:pt x="38804" y="3821"/>
                    <a:pt x="41712" y="6306"/>
                    <a:pt x="43766" y="9444"/>
                  </a:cubicBezTo>
                  <a:cubicBezTo>
                    <a:pt x="45803" y="12448"/>
                    <a:pt x="47126" y="15880"/>
                    <a:pt x="47631" y="19475"/>
                  </a:cubicBezTo>
                  <a:cubicBezTo>
                    <a:pt x="48021" y="22665"/>
                    <a:pt x="48160" y="25881"/>
                    <a:pt x="48043" y="29094"/>
                  </a:cubicBezTo>
                  <a:lnTo>
                    <a:pt x="12711" y="29094"/>
                  </a:lnTo>
                  <a:cubicBezTo>
                    <a:pt x="12900" y="33955"/>
                    <a:pt x="14600" y="37373"/>
                    <a:pt x="17778" y="39400"/>
                  </a:cubicBezTo>
                  <a:cubicBezTo>
                    <a:pt x="19884" y="40669"/>
                    <a:pt x="22311" y="41306"/>
                    <a:pt x="24769" y="41237"/>
                  </a:cubicBezTo>
                  <a:cubicBezTo>
                    <a:pt x="27307" y="41354"/>
                    <a:pt x="29803" y="40563"/>
                    <a:pt x="31811" y="39004"/>
                  </a:cubicBezTo>
                  <a:cubicBezTo>
                    <a:pt x="32891" y="38080"/>
                    <a:pt x="33774" y="36947"/>
                    <a:pt x="34405" y="35672"/>
                  </a:cubicBezTo>
                  <a:lnTo>
                    <a:pt x="47407" y="35672"/>
                  </a:lnTo>
                  <a:cubicBezTo>
                    <a:pt x="46818" y="39021"/>
                    <a:pt x="45169" y="42092"/>
                    <a:pt x="42701" y="44432"/>
                  </a:cubicBezTo>
                  <a:cubicBezTo>
                    <a:pt x="38355" y="49156"/>
                    <a:pt x="32292" y="51509"/>
                    <a:pt x="24459" y="51509"/>
                  </a:cubicBezTo>
                  <a:cubicBezTo>
                    <a:pt x="18245" y="51584"/>
                    <a:pt x="12202" y="49474"/>
                    <a:pt x="7386" y="45549"/>
                  </a:cubicBezTo>
                  <a:cubicBezTo>
                    <a:pt x="2461" y="41564"/>
                    <a:pt x="0" y="35094"/>
                    <a:pt x="0" y="26139"/>
                  </a:cubicBezTo>
                  <a:cubicBezTo>
                    <a:pt x="0" y="17746"/>
                    <a:pt x="2228" y="11304"/>
                    <a:pt x="6682" y="6816"/>
                  </a:cubicBezTo>
                  <a:cubicBezTo>
                    <a:pt x="11252" y="2254"/>
                    <a:pt x="17508" y="-208"/>
                    <a:pt x="23961" y="14"/>
                  </a:cubicBezTo>
                  <a:cubicBezTo>
                    <a:pt x="27886" y="-52"/>
                    <a:pt x="31782" y="721"/>
                    <a:pt x="35384" y="2281"/>
                  </a:cubicBezTo>
                  <a:close/>
                  <a:moveTo>
                    <a:pt x="16490" y="13223"/>
                  </a:moveTo>
                  <a:cubicBezTo>
                    <a:pt x="14554" y="15309"/>
                    <a:pt x="13350" y="17967"/>
                    <a:pt x="13054" y="20797"/>
                  </a:cubicBezTo>
                  <a:lnTo>
                    <a:pt x="34886" y="20797"/>
                  </a:lnTo>
                  <a:cubicBezTo>
                    <a:pt x="34844" y="17880"/>
                    <a:pt x="33601" y="15108"/>
                    <a:pt x="31450" y="13137"/>
                  </a:cubicBezTo>
                  <a:cubicBezTo>
                    <a:pt x="29363" y="11367"/>
                    <a:pt x="26698" y="10426"/>
                    <a:pt x="23961" y="10491"/>
                  </a:cubicBezTo>
                  <a:cubicBezTo>
                    <a:pt x="21201" y="10337"/>
                    <a:pt x="18499" y="11325"/>
                    <a:pt x="16490" y="132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4" name="Google Shape;24;p14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 rot="-5400000">
            <a:off x="11811887" y="6349041"/>
            <a:ext cx="441438" cy="6870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1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2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  <a:defRPr sz="3200" b="0" i="0" u="none" strike="noStrike" cap="none">
                <a:solidFill>
                  <a:schemeClr val="dk2"/>
                </a:solidFill>
                <a:latin typeface="Franklin Gothic"/>
                <a:ea typeface="Franklin Gothic"/>
                <a:cs typeface="Franklin Gothic"/>
                <a:sym typeface="Franklin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4"/>
          <p:cNvSpPr txBox="1">
            <a:spLocks noGrp="1"/>
          </p:cNvSpPr>
          <p:nvPr>
            <p:ph type="body" idx="1"/>
          </p:nvPr>
        </p:nvSpPr>
        <p:spPr>
          <a:xfrm>
            <a:off x="550862" y="1859913"/>
            <a:ext cx="11089973" cy="1349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20040" algn="l" rtl="0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0039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440"/>
              <a:buFont typeface="Noto Sans"/>
              <a:buChar char="▪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95000"/>
              </a:lnSpc>
              <a:spcBef>
                <a:spcPts val="1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Calibri"/>
              <a:buChar char="−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14"/>
          <p:cNvSpPr txBox="1">
            <a:spLocks noGrp="1"/>
          </p:cNvSpPr>
          <p:nvPr>
            <p:ph type="ftr" idx="11"/>
          </p:nvPr>
        </p:nvSpPr>
        <p:spPr>
          <a:xfrm>
            <a:off x="550863" y="6465614"/>
            <a:ext cx="5545138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1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#›</a:t>
            </a:fld>
            <a:endParaRPr/>
          </a:p>
        </p:txBody>
      </p:sp>
      <p:sp>
        <p:nvSpPr>
          <p:cNvPr id="29" name="Google Shape;29;p14"/>
          <p:cNvSpPr txBox="1"/>
          <p:nvPr/>
        </p:nvSpPr>
        <p:spPr>
          <a:xfrm rot="-5400000">
            <a:off x="11250971" y="5290633"/>
            <a:ext cx="1567737" cy="1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fr-FR" sz="800" b="0" i="0" u="none" strike="noStrike" cap="none">
                <a:solidFill>
                  <a:srgbClr val="B4B4B4"/>
                </a:solidFill>
                <a:latin typeface="Calibri"/>
                <a:ea typeface="Calibri"/>
                <a:cs typeface="Calibri"/>
                <a:sym typeface="Calibri"/>
              </a:rPr>
              <a:t>Copyright © 2020. All rights reserve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0" name="Google Shape;30;p14"/>
          <p:cNvCxnSpPr/>
          <p:nvPr/>
        </p:nvCxnSpPr>
        <p:spPr>
          <a:xfrm>
            <a:off x="539400" y="484910"/>
            <a:ext cx="5400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117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pos="3749">
          <p15:clr>
            <a:srgbClr val="F26B43"/>
          </p15:clr>
        </p15:guide>
        <p15:guide id="7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Google Shape;319;p1"/>
          <p:cNvSpPr txBox="1">
            <a:spLocks noGrp="1"/>
          </p:cNvSpPr>
          <p:nvPr>
            <p:ph type="ctrTitle"/>
          </p:nvPr>
        </p:nvSpPr>
        <p:spPr>
          <a:xfrm>
            <a:off x="1631951" y="3610939"/>
            <a:ext cx="479933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Font typeface="Franklin Gothic"/>
              <a:buNone/>
            </a:pPr>
            <a:r>
              <a:rPr lang="fr-FR" sz="7200"/>
              <a:t>Who’s Who</a:t>
            </a:r>
            <a:endParaRPr/>
          </a:p>
        </p:txBody>
      </p:sp>
      <p:sp>
        <p:nvSpPr>
          <p:cNvPr id="320" name="TextBox 319"/>
          <p:cNvSpPr txBox="1"/>
          <p:nvPr/>
        </p:nvSpPr>
        <p:spPr>
          <a:xfrm>
            <a:off x="1631951" y="4842065"/>
            <a:ext cx="4799330" cy="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3000" b="1">
                <a:solidFill>
                  <a:srgbClr val="FFFFFF"/>
                </a:solidFill>
              </a:defRPr>
            </a:pPr>
            <a:r>
              <a:t>April 202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2" name="Google Shape;662;p1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3" name="Google Shape;663;p1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Information Technology</a:t>
            </a:r>
            <a:endParaRPr/>
          </a:p>
        </p:txBody>
      </p:sp>
      <p:sp>
        <p:nvSpPr>
          <p:cNvPr id="664" name="Google Shape;664;p1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0</a:t>
            </a:fld>
            <a:endParaRPr/>
          </a:p>
        </p:txBody>
      </p:sp>
      <p:cxnSp>
        <p:nvCxnSpPr>
          <p:cNvPr id="665" name="Google Shape;665;p1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66" name="Google Shape;666;p11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7" name="Google Shape;667;p11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6" name="Google Shape;676;p11"/>
          <p:cNvSpPr/>
          <p:nvPr/>
        </p:nvSpPr>
        <p:spPr>
          <a:xfrm>
            <a:off x="7103560" y="1984547"/>
            <a:ext cx="4561967" cy="46166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ing and Managing IT Systems and Network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11"/>
          <p:cNvSpPr/>
          <p:nvPr/>
        </p:nvSpPr>
        <p:spPr>
          <a:xfrm>
            <a:off x="7137769" y="4507219"/>
            <a:ext cx="3832478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Onboarding/Offboard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78" name="Google Shape;678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9932" y="2073034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79" name="Google Shape;679;p11"/>
          <p:cNvSpPr/>
          <p:nvPr/>
        </p:nvSpPr>
        <p:spPr>
          <a:xfrm>
            <a:off x="7124741" y="2189570"/>
            <a:ext cx="3480609" cy="525785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IT Support for all business unit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0" name="Google Shape;680;p11"/>
          <p:cNvSpPr/>
          <p:nvPr/>
        </p:nvSpPr>
        <p:spPr>
          <a:xfrm>
            <a:off x="7124741" y="2919716"/>
            <a:ext cx="4516094" cy="556563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ystem Administration and Application/Accounts Management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1" name="Google Shape;681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31113" y="2572081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2" name="Google Shape;682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31113" y="3089350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3" name="Google Shape;683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2968" y="3570175"/>
            <a:ext cx="251882" cy="251882"/>
          </a:xfrm>
          <a:prstGeom prst="rect">
            <a:avLst/>
          </a:prstGeom>
          <a:noFill/>
          <a:ln>
            <a:noFill/>
          </a:ln>
        </p:spPr>
      </p:pic>
      <p:pic>
        <p:nvPicPr>
          <p:cNvPr id="684" name="Google Shape;684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6074" y="4051000"/>
            <a:ext cx="251882" cy="251882"/>
          </a:xfrm>
          <a:prstGeom prst="rect">
            <a:avLst/>
          </a:prstGeom>
          <a:noFill/>
          <a:ln>
            <a:noFill/>
          </a:ln>
        </p:spPr>
      </p:pic>
      <p:sp>
        <p:nvSpPr>
          <p:cNvPr id="685" name="Google Shape;685;p11"/>
          <p:cNvSpPr/>
          <p:nvPr/>
        </p:nvSpPr>
        <p:spPr>
          <a:xfrm>
            <a:off x="7137769" y="4016740"/>
            <a:ext cx="3772385" cy="31034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 Asset Management and Purchasing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6" name="Google Shape;686;p11"/>
          <p:cNvSpPr/>
          <p:nvPr/>
        </p:nvSpPr>
        <p:spPr>
          <a:xfrm>
            <a:off x="7137769" y="3617296"/>
            <a:ext cx="4827809" cy="246221"/>
          </a:xfrm>
          <a:prstGeom prst="flowChartProcess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ing IT Systems security and defining IT Policies</a:t>
            </a: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7" name="Google Shape;687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8430" y="4568269"/>
            <a:ext cx="251882" cy="25188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4" name="Google Shape;694;g121061837f4_0_1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695" name="Google Shape;695;g121061837f4_0_1"/>
          <p:cNvSpPr/>
          <p:nvPr/>
        </p:nvSpPr>
        <p:spPr>
          <a:xfrm>
            <a:off x="6959711" y="2761030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Infomineo’s Marketing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6" name="Google Shape;696;g121061837f4_0_1"/>
          <p:cNvSpPr/>
          <p:nvPr/>
        </p:nvSpPr>
        <p:spPr>
          <a:xfrm>
            <a:off x="6959711" y="3279657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nitoring new content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7" name="Google Shape;697;g121061837f4_0_1"/>
          <p:cNvSpPr/>
          <p:nvPr/>
        </p:nvSpPr>
        <p:spPr>
          <a:xfrm>
            <a:off x="6959711" y="3707551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he development of marketing materi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8" name="Google Shape;698;g121061837f4_0_1"/>
          <p:cNvSpPr/>
          <p:nvPr/>
        </p:nvSpPr>
        <p:spPr>
          <a:xfrm>
            <a:off x="6959711" y="4412443"/>
            <a:ext cx="40158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Infomineo’s web strate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9" name="Google Shape;699;g121061837f4_0_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Marketing</a:t>
            </a:r>
            <a:endParaRPr/>
          </a:p>
        </p:txBody>
      </p:sp>
      <p:sp>
        <p:nvSpPr>
          <p:cNvPr id="700" name="Google Shape;700;g121061837f4_0_1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fr-FR"/>
              <a:t>11</a:t>
            </a:fld>
            <a:endParaRPr/>
          </a:p>
        </p:txBody>
      </p:sp>
      <p:sp>
        <p:nvSpPr>
          <p:cNvPr id="701" name="Google Shape;701;g121061837f4_0_1"/>
          <p:cNvSpPr/>
          <p:nvPr/>
        </p:nvSpPr>
        <p:spPr>
          <a:xfrm>
            <a:off x="6959711" y="2056137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and improving lead generation campaig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02" name="Google Shape;702;g121061837f4_0_1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03" name="Google Shape;703;g121061837f4_0_1"/>
          <p:cNvSpPr/>
          <p:nvPr/>
        </p:nvSpPr>
        <p:spPr>
          <a:xfrm>
            <a:off x="8267793" y="1557549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4" name="Google Shape;704;g121061837f4_0_1"/>
          <p:cNvSpPr/>
          <p:nvPr/>
        </p:nvSpPr>
        <p:spPr>
          <a:xfrm>
            <a:off x="2330476" y="1557549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05" name="Google Shape;705;g121061837f4_0_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9932" y="207303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6" name="Google Shape;706;g121061837f4_0_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9932" y="2801312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09" name="Google Shape;709;g121061837f4_0_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9932" y="3301514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0" name="Google Shape;710;g121061837f4_0_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9932" y="37352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3" name="Google Shape;713;g121061837f4_0_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9932" y="4446467"/>
            <a:ext cx="251881" cy="251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5" name="Google Shape;715;g121061837f4_0_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9932" y="5031726"/>
            <a:ext cx="251881" cy="251881"/>
          </a:xfrm>
          <a:prstGeom prst="rect">
            <a:avLst/>
          </a:prstGeom>
          <a:noFill/>
          <a:ln>
            <a:noFill/>
          </a:ln>
        </p:spPr>
      </p:pic>
      <p:sp>
        <p:nvSpPr>
          <p:cNvPr id="716" name="Google Shape;716;g121061837f4_0_1"/>
          <p:cNvSpPr/>
          <p:nvPr/>
        </p:nvSpPr>
        <p:spPr>
          <a:xfrm>
            <a:off x="6959711" y="5006609"/>
            <a:ext cx="40158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mineo’s sector and region content development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24" name="Google Shape;724;p12"/>
          <p:cNvCxnSpPr/>
          <p:nvPr/>
        </p:nvCxnSpPr>
        <p:spPr>
          <a:xfrm>
            <a:off x="6625528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5" name="Google Shape;725;p12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Office Admin - Management &amp; Logistics </a:t>
            </a:r>
            <a:endParaRPr/>
          </a:p>
        </p:txBody>
      </p:sp>
      <p:sp>
        <p:nvSpPr>
          <p:cNvPr id="726" name="Google Shape;726;p12"/>
          <p:cNvSpPr/>
          <p:nvPr/>
        </p:nvSpPr>
        <p:spPr>
          <a:xfrm>
            <a:off x="6931024" y="2005337"/>
            <a:ext cx="4707467" cy="409855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life events planning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neral services management (e.g. clean desk, maintenance, management of cleaning force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curity &amp; Safety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om &amp; VC book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rier planning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tering and every-day lunch orders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ick-up &amp; transfer management 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procedures support (e.g. taxes, VISA, work permit, mobility program).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XA enrollment &amp; contribution retrieval (Casa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vel perk book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ifts purchases (work anniversaries and events etc)</a:t>
            </a:r>
            <a:endParaRPr sz="16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27" name="Google Shape;727;p12"/>
          <p:cNvCxnSpPr/>
          <p:nvPr/>
        </p:nvCxnSpPr>
        <p:spPr>
          <a:xfrm>
            <a:off x="537882" y="1699927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728" name="Google Shape;728;p12"/>
          <p:cNvSpPr/>
          <p:nvPr/>
        </p:nvSpPr>
        <p:spPr>
          <a:xfrm>
            <a:off x="8267793" y="1557549"/>
            <a:ext cx="1755471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9" name="Google Shape;729;p12"/>
          <p:cNvSpPr/>
          <p:nvPr/>
        </p:nvSpPr>
        <p:spPr>
          <a:xfrm>
            <a:off x="2330476" y="1557549"/>
            <a:ext cx="1454813" cy="276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 are they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4" name="Google Shape;734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1042" y="202671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5" name="Google Shape;735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1042" y="240641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6" name="Google Shape;736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1042" y="2953917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7" name="Google Shape;737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8630" y="3297369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8" name="Google Shape;738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8630" y="3617854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9" name="Google Shape;739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1042" y="3965988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0" name="Google Shape;740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1042" y="4309440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1" name="Google Shape;741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1042" y="4652892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2" name="Google Shape;742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8630" y="5208326"/>
            <a:ext cx="220544" cy="2205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43" name="Google Shape;743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8630" y="5571605"/>
            <a:ext cx="220544" cy="220544"/>
          </a:xfrm>
          <a:prstGeom prst="rect">
            <a:avLst/>
          </a:prstGeom>
          <a:noFill/>
          <a:ln>
            <a:noFill/>
          </a:ln>
        </p:spPr>
      </p:pic>
      <p:sp>
        <p:nvSpPr>
          <p:cNvPr id="744" name="Google Shape;744;p1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2</a:t>
            </a:fld>
            <a:endParaRPr/>
          </a:p>
        </p:txBody>
      </p:sp>
      <p:pic>
        <p:nvPicPr>
          <p:cNvPr id="745" name="Google Shape;745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8630" y="5876744"/>
            <a:ext cx="220544" cy="2205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" name="Google Shape;754;p4"/>
          <p:cNvSpPr txBox="1">
            <a:spLocks noGrp="1"/>
          </p:cNvSpPr>
          <p:nvPr>
            <p:ph type="title"/>
          </p:nvPr>
        </p:nvSpPr>
        <p:spPr>
          <a:xfrm>
            <a:off x="509222" y="59253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Research </a:t>
            </a:r>
            <a:r>
              <a:rPr lang="fr-FR" sz="1700"/>
              <a:t>(1/4)</a:t>
            </a:r>
            <a:r>
              <a:rPr lang="fr-FR"/>
              <a:t> – </a:t>
            </a:r>
            <a:r>
              <a:rPr lang="fr-FR" sz="1400" b="0" i="0" u="none" strike="noStrike" cap="none">
                <a:solidFill>
                  <a:srgbClr val="0F47F2"/>
                </a:solidFill>
                <a:latin typeface="Arial"/>
                <a:ea typeface="Arial"/>
                <a:cs typeface="Arial"/>
                <a:sym typeface="Arial"/>
              </a:rPr>
              <a:t>More info about team </a:t>
            </a:r>
            <a:r>
              <a:rPr lang="fr-FR" sz="1400">
                <a:solidFill>
                  <a:srgbClr val="0F47F2"/>
                </a:solidFill>
                <a:latin typeface="Arial"/>
                <a:ea typeface="Arial"/>
                <a:cs typeface="Arial"/>
                <a:sym typeface="Arial"/>
              </a:rPr>
              <a:t>assignment</a:t>
            </a:r>
            <a:r>
              <a:rPr lang="fr-FR" sz="1400" b="0" i="0" u="none" strike="noStrike" cap="none">
                <a:solidFill>
                  <a:srgbClr val="0F47F2"/>
                </a:solidFill>
                <a:latin typeface="Arial"/>
                <a:ea typeface="Arial"/>
                <a:cs typeface="Arial"/>
                <a:sym typeface="Arial"/>
              </a:rPr>
              <a:t> on slides 15 to 17</a:t>
            </a: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5" name="Google Shape;755;p4"/>
          <p:cNvSpPr txBox="1">
            <a:spLocks noGrp="1"/>
          </p:cNvSpPr>
          <p:nvPr>
            <p:ph type="sldNum" idx="12"/>
          </p:nvPr>
        </p:nvSpPr>
        <p:spPr>
          <a:xfrm>
            <a:off x="11993228" y="66814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3</a:t>
            </a:fld>
            <a:endParaRPr/>
          </a:p>
        </p:txBody>
      </p:sp>
      <p:sp>
        <p:nvSpPr>
          <p:cNvPr id="756" name="Google Shape;756;p4"/>
          <p:cNvSpPr txBox="1"/>
          <p:nvPr/>
        </p:nvSpPr>
        <p:spPr>
          <a:xfrm>
            <a:off x="1234410" y="19302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Google Shape;757;p4"/>
          <p:cNvSpPr txBox="1"/>
          <p:nvPr/>
        </p:nvSpPr>
        <p:spPr>
          <a:xfrm>
            <a:off x="404520" y="5455118"/>
            <a:ext cx="654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eam Lead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7" name="Google Shape;767;p4"/>
          <p:cNvCxnSpPr>
            <a:cxnSpLocks/>
          </p:cNvCxnSpPr>
          <p:nvPr/>
        </p:nvCxnSpPr>
        <p:spPr>
          <a:xfrm>
            <a:off x="1198389" y="5557755"/>
            <a:ext cx="5749943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786" name="Google Shape;786;p4"/>
          <p:cNvSpPr txBox="1"/>
          <p:nvPr/>
        </p:nvSpPr>
        <p:spPr>
          <a:xfrm>
            <a:off x="4150232" y="2737605"/>
            <a:ext cx="5562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88" name="Google Shape;788;p4"/>
          <p:cNvCxnSpPr/>
          <p:nvPr/>
        </p:nvCxnSpPr>
        <p:spPr>
          <a:xfrm>
            <a:off x="5029200" y="2832556"/>
            <a:ext cx="6625800" cy="33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794" name="Google Shape;794;p4"/>
          <p:cNvSpPr txBox="1"/>
          <p:nvPr/>
        </p:nvSpPr>
        <p:spPr>
          <a:xfrm>
            <a:off x="448188" y="2756591"/>
            <a:ext cx="10749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95" name="Google Shape;795;p4"/>
          <p:cNvCxnSpPr/>
          <p:nvPr/>
        </p:nvCxnSpPr>
        <p:spPr>
          <a:xfrm rot="10800000" flipH="1">
            <a:off x="1413136" y="2833541"/>
            <a:ext cx="2079300" cy="78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811" name="Google Shape;811;p4"/>
          <p:cNvCxnSpPr/>
          <p:nvPr/>
        </p:nvCxnSpPr>
        <p:spPr>
          <a:xfrm>
            <a:off x="1908332" y="1218852"/>
            <a:ext cx="50400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812" name="Google Shape;812;p4"/>
          <p:cNvSpPr/>
          <p:nvPr/>
        </p:nvSpPr>
        <p:spPr>
          <a:xfrm>
            <a:off x="3060500" y="1081700"/>
            <a:ext cx="26304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ead Of Business Research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1" name="Google Shape;821;g1dc1ad7205f_0_36"/>
          <p:cNvSpPr txBox="1">
            <a:spLocks noGrp="1"/>
          </p:cNvSpPr>
          <p:nvPr>
            <p:ph type="title"/>
          </p:nvPr>
        </p:nvSpPr>
        <p:spPr>
          <a:xfrm>
            <a:off x="509222" y="59253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Research </a:t>
            </a:r>
            <a:r>
              <a:rPr lang="fr-FR" sz="1700"/>
              <a:t>(2/4)</a:t>
            </a:r>
            <a:r>
              <a:rPr lang="fr-FR"/>
              <a:t> – </a:t>
            </a:r>
            <a:r>
              <a:rPr lang="fr-FR" sz="1400" b="0" i="0" u="none" strike="noStrike" cap="none">
                <a:solidFill>
                  <a:srgbClr val="0F47F2"/>
                </a:solidFill>
                <a:latin typeface="Arial"/>
                <a:ea typeface="Arial"/>
                <a:cs typeface="Arial"/>
                <a:sym typeface="Arial"/>
              </a:rPr>
              <a:t>More info about team </a:t>
            </a:r>
            <a:r>
              <a:rPr lang="fr-FR" sz="1400">
                <a:solidFill>
                  <a:srgbClr val="0F47F2"/>
                </a:solidFill>
                <a:latin typeface="Arial"/>
                <a:ea typeface="Arial"/>
                <a:cs typeface="Arial"/>
                <a:sym typeface="Arial"/>
              </a:rPr>
              <a:t>assignment</a:t>
            </a:r>
            <a:r>
              <a:rPr lang="fr-FR" sz="1400" b="0" i="0" u="none" strike="noStrike" cap="none">
                <a:solidFill>
                  <a:srgbClr val="0F47F2"/>
                </a:solidFill>
                <a:latin typeface="Arial"/>
                <a:ea typeface="Arial"/>
                <a:cs typeface="Arial"/>
                <a:sym typeface="Arial"/>
              </a:rPr>
              <a:t> on slides 15 to 17</a:t>
            </a: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2" name="Google Shape;822;g1dc1ad7205f_0_36"/>
          <p:cNvSpPr txBox="1">
            <a:spLocks noGrp="1"/>
          </p:cNvSpPr>
          <p:nvPr>
            <p:ph type="sldNum" idx="12"/>
          </p:nvPr>
        </p:nvSpPr>
        <p:spPr>
          <a:xfrm>
            <a:off x="11993228" y="66814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4</a:t>
            </a:fld>
            <a:endParaRPr/>
          </a:p>
        </p:txBody>
      </p:sp>
      <p:sp>
        <p:nvSpPr>
          <p:cNvPr id="823" name="Google Shape;823;g1dc1ad7205f_0_36"/>
          <p:cNvSpPr txBox="1"/>
          <p:nvPr/>
        </p:nvSpPr>
        <p:spPr>
          <a:xfrm>
            <a:off x="1234410" y="19302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5" name="Google Shape;825;g1dc1ad7205f_0_36"/>
          <p:cNvSpPr txBox="1"/>
          <p:nvPr/>
        </p:nvSpPr>
        <p:spPr>
          <a:xfrm>
            <a:off x="402429" y="1035934"/>
            <a:ext cx="9537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6" name="Google Shape;826;g1dc1ad7205f_0_36"/>
          <p:cNvCxnSpPr>
            <a:cxnSpLocks/>
          </p:cNvCxnSpPr>
          <p:nvPr/>
        </p:nvCxnSpPr>
        <p:spPr>
          <a:xfrm rot="10800000" flipH="1">
            <a:off x="1440105" y="1116485"/>
            <a:ext cx="7421100" cy="72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827" name="Google Shape;827;g1dc1ad7205f_0_36"/>
          <p:cNvSpPr txBox="1"/>
          <p:nvPr/>
        </p:nvSpPr>
        <p:spPr>
          <a:xfrm>
            <a:off x="457200" y="4062109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34" name="Google Shape;834;g1dc1ad7205f_0_36"/>
          <p:cNvCxnSpPr/>
          <p:nvPr/>
        </p:nvCxnSpPr>
        <p:spPr>
          <a:xfrm rot="10800000" flipH="1">
            <a:off x="1094215" y="4139060"/>
            <a:ext cx="9696900" cy="18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Google Shape;918;gebf1c9429d_0_10"/>
          <p:cNvSpPr txBox="1">
            <a:spLocks noGrp="1"/>
          </p:cNvSpPr>
          <p:nvPr>
            <p:ph type="title"/>
          </p:nvPr>
        </p:nvSpPr>
        <p:spPr>
          <a:xfrm>
            <a:off x="550950" y="50422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Research </a:t>
            </a:r>
            <a:r>
              <a:rPr lang="fr-FR" sz="1700"/>
              <a:t>(3/4) </a:t>
            </a:r>
            <a:r>
              <a:rPr lang="fr-FR"/>
              <a:t>– </a:t>
            </a:r>
            <a:r>
              <a:rPr lang="fr-FR" sz="1600"/>
              <a:t>More info about team assignment on Slides 15 to 17</a:t>
            </a:r>
            <a:endParaRPr/>
          </a:p>
        </p:txBody>
      </p:sp>
      <p:sp>
        <p:nvSpPr>
          <p:cNvPr id="919" name="Google Shape;919;gebf1c9429d_0_10"/>
          <p:cNvSpPr txBox="1">
            <a:spLocks noGrp="1"/>
          </p:cNvSpPr>
          <p:nvPr>
            <p:ph type="sldNum" idx="12"/>
          </p:nvPr>
        </p:nvSpPr>
        <p:spPr>
          <a:xfrm>
            <a:off x="11993228" y="66814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5</a:t>
            </a:fld>
            <a:endParaRPr/>
          </a:p>
        </p:txBody>
      </p:sp>
      <p:sp>
        <p:nvSpPr>
          <p:cNvPr id="920" name="Google Shape;920;gebf1c9429d_0_10"/>
          <p:cNvSpPr txBox="1"/>
          <p:nvPr/>
        </p:nvSpPr>
        <p:spPr>
          <a:xfrm>
            <a:off x="1234410" y="19302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1" name="Google Shape;921;gebf1c9429d_0_10"/>
          <p:cNvSpPr txBox="1"/>
          <p:nvPr/>
        </p:nvSpPr>
        <p:spPr>
          <a:xfrm>
            <a:off x="365265" y="977779"/>
            <a:ext cx="14727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Business  Analysts </a:t>
            </a:r>
            <a:endParaRPr sz="1000" b="1" i="0" u="none" strike="noStrike" cap="none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922" name="Google Shape;922;gebf1c9429d_0_10"/>
          <p:cNvCxnSpPr>
            <a:cxnSpLocks/>
          </p:cNvCxnSpPr>
          <p:nvPr/>
        </p:nvCxnSpPr>
        <p:spPr>
          <a:xfrm>
            <a:off x="1837965" y="1043329"/>
            <a:ext cx="9388800" cy="114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936" name="Google Shape;936;gebf1c9429d_0_10"/>
          <p:cNvSpPr/>
          <p:nvPr/>
        </p:nvSpPr>
        <p:spPr>
          <a:xfrm>
            <a:off x="9790440" y="-141678"/>
            <a:ext cx="429900" cy="42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7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Sarah Nafie </a:t>
            </a:r>
            <a:r>
              <a:rPr lang="fr-FR" sz="7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airo</a:t>
            </a:r>
            <a:endParaRPr sz="7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41"/>
          <p:cNvSpPr txBox="1">
            <a:spLocks noGrp="1"/>
          </p:cNvSpPr>
          <p:nvPr>
            <p:ph type="title"/>
          </p:nvPr>
        </p:nvSpPr>
        <p:spPr>
          <a:xfrm>
            <a:off x="550950" y="50422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Research </a:t>
            </a:r>
            <a:r>
              <a:rPr lang="fr-FR" sz="1700"/>
              <a:t>(4/4) </a:t>
            </a:r>
            <a:r>
              <a:rPr lang="fr-FR"/>
              <a:t>– </a:t>
            </a:r>
            <a:r>
              <a:rPr lang="fr-FR" sz="1600"/>
              <a:t>More info about team assignment on Slides 15 to 17</a:t>
            </a:r>
            <a:endParaRPr/>
          </a:p>
        </p:txBody>
      </p:sp>
      <p:sp>
        <p:nvSpPr>
          <p:cNvPr id="1078" name="Google Shape;1078;p41"/>
          <p:cNvSpPr txBox="1"/>
          <p:nvPr/>
        </p:nvSpPr>
        <p:spPr>
          <a:xfrm>
            <a:off x="1234410" y="19302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9" name="Google Shape;1079;p41"/>
          <p:cNvSpPr txBox="1"/>
          <p:nvPr/>
        </p:nvSpPr>
        <p:spPr>
          <a:xfrm>
            <a:off x="521864" y="1040711"/>
            <a:ext cx="14727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nalysts</a:t>
            </a: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000" b="1" i="0" u="none" strike="noStrike" cap="none" dirty="0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080" name="Google Shape;1080;p41"/>
          <p:cNvCxnSpPr/>
          <p:nvPr/>
        </p:nvCxnSpPr>
        <p:spPr>
          <a:xfrm>
            <a:off x="1258214" y="1146777"/>
            <a:ext cx="9511409" cy="114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81" name="Google Shape;1081;p41"/>
          <p:cNvSpPr/>
          <p:nvPr/>
        </p:nvSpPr>
        <p:spPr>
          <a:xfrm>
            <a:off x="9790440" y="-141678"/>
            <a:ext cx="429900" cy="42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7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Sarah Nafie </a:t>
            </a:r>
            <a:r>
              <a:rPr lang="fr-FR" sz="7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airo</a:t>
            </a:r>
            <a:endParaRPr sz="7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" name="Google Shape;1136;p46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1137" name="Google Shape;1137;p46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8" name="Google Shape;1138;p46"/>
          <p:cNvSpPr/>
          <p:nvPr/>
        </p:nvSpPr>
        <p:spPr>
          <a:xfrm>
            <a:off x="3578873" y="1194486"/>
            <a:ext cx="2125612" cy="3123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777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None/>
            </a:pP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Composed of generalists' profiles working with the different MCK offices all around the worl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Align the staffing based on the sectors covered (Finance, Public sector, Energy, etc. 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upport the client both on short and long reques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Main clients / users are from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-  The Middle East (UAE, KSA, and   Egypt),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Europe (France, Iberia, Benelux, UK, Poland, etc.),    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-Africa (Morocco, South Africa, Kenya, Nigeria, Angola, .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            -ROW (USA, Canada, India, Pakistan)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" name="Google Shape;1139;p46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40" name="Google Shape;1140;p46"/>
          <p:cNvGrpSpPr/>
          <p:nvPr/>
        </p:nvGrpSpPr>
        <p:grpSpPr>
          <a:xfrm>
            <a:off x="5719033" y="1194486"/>
            <a:ext cx="3580018" cy="3385906"/>
            <a:chOff x="6838838" y="2506636"/>
            <a:chExt cx="3580348" cy="3351426"/>
          </a:xfrm>
        </p:grpSpPr>
        <p:sp>
          <p:nvSpPr>
            <p:cNvPr id="1141" name="Google Shape;1141;p46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2" name="Google Shape;1142;p46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3" name="Google Shape;1143;p46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4" name="Google Shape;1144;p46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5" name="Google Shape;1145;p46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6" name="Google Shape;1146;p46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7" name="Google Shape;1147;p46"/>
            <p:cNvSpPr/>
            <p:nvPr/>
          </p:nvSpPr>
          <p:spPr>
            <a:xfrm>
              <a:off x="8074552" y="4631918"/>
              <a:ext cx="1147843" cy="739513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Insight Knowledge 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" name="Google Shape;1148;p46"/>
            <p:cNvSpPr/>
            <p:nvPr/>
          </p:nvSpPr>
          <p:spPr>
            <a:xfrm>
              <a:off x="7457604" y="3209932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MCK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9" name="Google Shape;1149;p46"/>
            <p:cNvSpPr/>
            <p:nvPr/>
          </p:nvSpPr>
          <p:spPr>
            <a:xfrm>
              <a:off x="8911621" y="3154121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CG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am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0" name="Google Shape;1150;p46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51" name="Google Shape;1151;p46"/>
          <p:cNvSpPr/>
          <p:nvPr/>
        </p:nvSpPr>
        <p:spPr>
          <a:xfrm>
            <a:off x="6571136" y="4842092"/>
            <a:ext cx="2189544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Serves all of Infomineo’s clients that are not engaged in a big retaine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Execute complex projects that require strong analytical skills and creativit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Deliver high value-added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02124"/>
                </a:solidFill>
                <a:latin typeface="Calibri"/>
                <a:ea typeface="Calibri"/>
                <a:cs typeface="Calibri"/>
                <a:sym typeface="Calibri"/>
              </a:rPr>
              <a:t>Build diversified expertise to support a large number of clients with different needs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2" name="Google Shape;1152;p46"/>
          <p:cNvSpPr txBox="1"/>
          <p:nvPr/>
        </p:nvSpPr>
        <p:spPr>
          <a:xfrm>
            <a:off x="309875" y="2791755"/>
            <a:ext cx="2945132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Research Team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" name="Google Shape;1153;p4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7</a:t>
            </a:fld>
            <a:endParaRPr/>
          </a:p>
        </p:txBody>
      </p:sp>
      <p:sp>
        <p:nvSpPr>
          <p:cNvPr id="1154" name="Google Shape;1154;p46"/>
          <p:cNvSpPr txBox="1"/>
          <p:nvPr/>
        </p:nvSpPr>
        <p:spPr>
          <a:xfrm>
            <a:off x="9281491" y="1312872"/>
            <a:ext cx="2770500" cy="38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Comprised of 3 different sub-teams focusing on different geographies (Europe &amp; Africa, Middle East, and KT Global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Each Team member having 30+ databases at their disposal incl. big names such as Euromonitor, Oxford Economics, BMI, Global Data, etc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Working as a full off-site extension of the client research team capabilities with access to a big portion of BCG tools incl. email addresses &amp; slack communic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Researchers work directly with the case teams with no intermediaries, mainly on short engagements (4-8 hours) although long engagements lasting weeks are becoming more regula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Noto Sans"/>
              <a:buChar char="▪"/>
            </a:pPr>
            <a:r>
              <a:rPr lang="fr-FR" sz="11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Offers sectorial specialization in different topics incl. (Industrial goods, Technology, Public Sector, Healthcare, Consumer products, etc.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Insights &amp; Knowledge Team (IKT) (1/2) </a:t>
            </a:r>
            <a:endParaRPr/>
          </a:p>
        </p:txBody>
      </p:sp>
      <p:sp>
        <p:nvSpPr>
          <p:cNvPr id="1160" name="Google Shape;1160;p3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18</a:t>
            </a:fld>
            <a:endParaRPr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2" name="Google Shape;1162;p39"/>
          <p:cNvSpPr txBox="1"/>
          <p:nvPr/>
        </p:nvSpPr>
        <p:spPr>
          <a:xfrm>
            <a:off x="439548" y="2544241"/>
            <a:ext cx="654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eam Lead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39"/>
          <p:cNvSpPr txBox="1"/>
          <p:nvPr/>
        </p:nvSpPr>
        <p:spPr>
          <a:xfrm>
            <a:off x="4986279" y="2501097"/>
            <a:ext cx="9537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66" name="Google Shape;1166;p39"/>
          <p:cNvCxnSpPr>
            <a:cxnSpLocks/>
          </p:cNvCxnSpPr>
          <p:nvPr/>
        </p:nvCxnSpPr>
        <p:spPr>
          <a:xfrm>
            <a:off x="1124383" y="2638096"/>
            <a:ext cx="2258897" cy="1125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1167" name="Google Shape;1167;p39"/>
          <p:cNvCxnSpPr/>
          <p:nvPr/>
        </p:nvCxnSpPr>
        <p:spPr>
          <a:xfrm rot="10800000" flipH="1">
            <a:off x="6021491" y="2574000"/>
            <a:ext cx="6012000" cy="168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70" name="Google Shape;1170;p39"/>
          <p:cNvSpPr txBox="1"/>
          <p:nvPr/>
        </p:nvSpPr>
        <p:spPr>
          <a:xfrm>
            <a:off x="457200" y="519173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75" name="Google Shape;1175;p39"/>
          <p:cNvCxnSpPr/>
          <p:nvPr/>
        </p:nvCxnSpPr>
        <p:spPr>
          <a:xfrm>
            <a:off x="1085820" y="5287441"/>
            <a:ext cx="3863400" cy="135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83" name="Google Shape;1183;p39"/>
          <p:cNvSpPr txBox="1"/>
          <p:nvPr/>
        </p:nvSpPr>
        <p:spPr>
          <a:xfrm>
            <a:off x="434700" y="1195770"/>
            <a:ext cx="121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85" name="Google Shape;1185;p39"/>
          <p:cNvCxnSpPr/>
          <p:nvPr/>
        </p:nvCxnSpPr>
        <p:spPr>
          <a:xfrm>
            <a:off x="1569510" y="1287262"/>
            <a:ext cx="794700" cy="36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208" name="Google Shape;1208;p39"/>
          <p:cNvSpPr txBox="1"/>
          <p:nvPr/>
        </p:nvSpPr>
        <p:spPr>
          <a:xfrm>
            <a:off x="6339234" y="1163765"/>
            <a:ext cx="5562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09" name="Google Shape;1209;p39"/>
          <p:cNvCxnSpPr/>
          <p:nvPr/>
        </p:nvCxnSpPr>
        <p:spPr>
          <a:xfrm rot="10800000" flipH="1">
            <a:off x="7048215" y="1215214"/>
            <a:ext cx="3631800" cy="255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6" name="Google Shape;1246;g2017e917d32_0_41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Insights &amp; Knowledge Team (IKT) (2/2) </a:t>
            </a:r>
            <a:endParaRPr/>
          </a:p>
        </p:txBody>
      </p:sp>
      <p:sp>
        <p:nvSpPr>
          <p:cNvPr id="1248" name="Google Shape;1248;g2017e917d32_0_41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9" name="Google Shape;1249;g2017e917d32_0_41"/>
          <p:cNvSpPr txBox="1"/>
          <p:nvPr/>
        </p:nvSpPr>
        <p:spPr>
          <a:xfrm>
            <a:off x="207408" y="1175371"/>
            <a:ext cx="13065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Business 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nalys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50" name="Google Shape;1250;g2017e917d32_0_41"/>
          <p:cNvCxnSpPr/>
          <p:nvPr/>
        </p:nvCxnSpPr>
        <p:spPr>
          <a:xfrm>
            <a:off x="1737360" y="1243757"/>
            <a:ext cx="9407980" cy="53514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251" name="Google Shape;1251;g2017e917d32_0_41"/>
          <p:cNvSpPr txBox="1"/>
          <p:nvPr/>
        </p:nvSpPr>
        <p:spPr>
          <a:xfrm>
            <a:off x="212206" y="3918018"/>
            <a:ext cx="9666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nalysts</a:t>
            </a: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000" b="1" i="0" u="none" strike="noStrike" cap="none" dirty="0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252" name="Google Shape;1252;g2017e917d32_0_41"/>
          <p:cNvCxnSpPr/>
          <p:nvPr/>
        </p:nvCxnSpPr>
        <p:spPr>
          <a:xfrm>
            <a:off x="928263" y="4071918"/>
            <a:ext cx="10218000" cy="372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"/>
          <p:cNvSpPr txBox="1">
            <a:spLocks noGrp="1"/>
          </p:cNvSpPr>
          <p:nvPr>
            <p:ph type="title"/>
          </p:nvPr>
        </p:nvSpPr>
        <p:spPr>
          <a:xfrm>
            <a:off x="566141" y="2494127"/>
            <a:ext cx="3195154" cy="18697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Franklin Gothic"/>
              <a:buNone/>
            </a:pPr>
            <a:r>
              <a:rPr lang="fr-FR"/>
              <a:t>Infomineo Executive Committee</a:t>
            </a:r>
            <a:endParaRPr/>
          </a:p>
        </p:txBody>
      </p:sp>
      <p:sp>
        <p:nvSpPr>
          <p:cNvPr id="326" name="Google Shape;326;p2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</a:t>
            </a:fld>
            <a:endParaRPr/>
          </a:p>
        </p:txBody>
      </p:sp>
      <p:sp>
        <p:nvSpPr>
          <p:cNvPr id="327" name="Google Shape;327;p2"/>
          <p:cNvSpPr/>
          <p:nvPr/>
        </p:nvSpPr>
        <p:spPr>
          <a:xfrm>
            <a:off x="5311275" y="1314000"/>
            <a:ext cx="6075000" cy="4363800"/>
          </a:xfrm>
          <a:prstGeom prst="roundRect">
            <a:avLst>
              <a:gd name="adj" fmla="val 4811"/>
            </a:avLst>
          </a:prstGeom>
          <a:noFill/>
          <a:ln w="9525" cap="rnd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p2"/>
          <p:cNvSpPr txBox="1"/>
          <p:nvPr/>
        </p:nvSpPr>
        <p:spPr>
          <a:xfrm>
            <a:off x="6864618" y="1180269"/>
            <a:ext cx="2790058" cy="2462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chemeClr val="accent4"/>
                </a:solidFill>
                <a:latin typeface="Gill Sans"/>
                <a:ea typeface="Gill Sans"/>
                <a:cs typeface="Gill Sans"/>
                <a:sym typeface="Gill Sans"/>
              </a:rPr>
              <a:t>Infomineo Executive Committee</a:t>
            </a:r>
            <a:endParaRPr sz="1600" b="0" i="0" u="none" strike="noStrike" cap="none">
              <a:solidFill>
                <a:schemeClr val="accent4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329" name="Google Shape;329;p2"/>
          <p:cNvSpPr txBox="1"/>
          <p:nvPr/>
        </p:nvSpPr>
        <p:spPr>
          <a:xfrm>
            <a:off x="7456244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Martin</a:t>
            </a:r>
            <a:b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Tronquit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p2"/>
          <p:cNvSpPr txBox="1"/>
          <p:nvPr/>
        </p:nvSpPr>
        <p:spPr>
          <a:xfrm>
            <a:off x="8345492" y="2729058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Hamza Laraichi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asablanca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" name="Google Shape;331;p2"/>
          <p:cNvSpPr txBox="1"/>
          <p:nvPr/>
        </p:nvSpPr>
        <p:spPr>
          <a:xfrm>
            <a:off x="7635321" y="1571379"/>
            <a:ext cx="11893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Managing Partners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2" name="Google Shape;332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45492" y="1882332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33" name="Google Shape;333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56244" y="1914088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4" name="Google Shape;334;p2"/>
          <p:cNvSpPr txBox="1"/>
          <p:nvPr/>
        </p:nvSpPr>
        <p:spPr>
          <a:xfrm flipH="1">
            <a:off x="8380449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Faizel Logday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5" name="Google Shape;335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345492" y="3800364"/>
            <a:ext cx="7200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36" name="Google Shape;336;p2"/>
          <p:cNvSpPr txBox="1"/>
          <p:nvPr/>
        </p:nvSpPr>
        <p:spPr>
          <a:xfrm>
            <a:off x="9315282" y="3428998"/>
            <a:ext cx="74606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Finance Directo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2"/>
          <p:cNvSpPr/>
          <p:nvPr/>
        </p:nvSpPr>
        <p:spPr>
          <a:xfrm>
            <a:off x="9417393" y="4629365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main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urigneux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 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p2"/>
          <p:cNvSpPr txBox="1"/>
          <p:nvPr/>
        </p:nvSpPr>
        <p:spPr>
          <a:xfrm>
            <a:off x="8318509" y="3398221"/>
            <a:ext cx="84387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Operating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9" name="Google Shape;339;p2" descr="A picture containing person, person, wall, clothing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325338" y="3784138"/>
            <a:ext cx="74606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0" name="Google Shape;340;p2"/>
          <p:cNvSpPr txBox="1"/>
          <p:nvPr/>
        </p:nvSpPr>
        <p:spPr>
          <a:xfrm>
            <a:off x="6336279" y="3384135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Human Capital Officer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1" name="Google Shape;341;p2"/>
          <p:cNvPicPr preferRelativeResize="0"/>
          <p:nvPr/>
        </p:nvPicPr>
        <p:blipFill rotWithShape="1">
          <a:blip r:embed="rId7">
            <a:alphaModFix/>
          </a:blip>
          <a:srcRect l="3016" r="3015"/>
          <a:stretch/>
        </p:blipFill>
        <p:spPr>
          <a:xfrm>
            <a:off x="6326994" y="3810769"/>
            <a:ext cx="751200" cy="7377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2" name="Google Shape;342;p2"/>
          <p:cNvSpPr txBox="1"/>
          <p:nvPr/>
        </p:nvSpPr>
        <p:spPr>
          <a:xfrm flipH="1">
            <a:off x="6398715" y="4615334"/>
            <a:ext cx="7200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0" i="0" u="none" strike="noStrike" cap="none">
                <a:solidFill>
                  <a:srgbClr val="222222"/>
                </a:solidFill>
                <a:latin typeface="Calibri"/>
                <a:ea typeface="Calibri"/>
                <a:cs typeface="Calibri"/>
                <a:sym typeface="Calibri"/>
              </a:rPr>
              <a:t>Dounia Boutaleb</a:t>
            </a:r>
            <a:endParaRPr sz="1200" b="0" i="0" u="none" strike="noStrike" cap="none">
              <a:solidFill>
                <a:srgbClr val="22222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arcelona</a:t>
            </a: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3" name="Google Shape;343;p2"/>
          <p:cNvPicPr preferRelativeResize="0"/>
          <p:nvPr/>
        </p:nvPicPr>
        <p:blipFill rotWithShape="1">
          <a:blip r:embed="rId8">
            <a:alphaModFix/>
          </a:blip>
          <a:srcRect t="4726" b="4716"/>
          <a:stretch/>
        </p:blipFill>
        <p:spPr>
          <a:xfrm>
            <a:off x="7336243" y="3825641"/>
            <a:ext cx="751200" cy="720000"/>
          </a:xfrm>
          <a:prstGeom prst="ellipse">
            <a:avLst/>
          </a:prstGeom>
          <a:solidFill>
            <a:srgbClr val="ECECEC"/>
          </a:solidFill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44" name="Google Shape;344;p2"/>
          <p:cNvSpPr txBox="1"/>
          <p:nvPr/>
        </p:nvSpPr>
        <p:spPr>
          <a:xfrm>
            <a:off x="7087479" y="4640914"/>
            <a:ext cx="1284600" cy="49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Matteo </a:t>
            </a:r>
            <a:endParaRPr/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Gamberale</a:t>
            </a:r>
            <a:endParaRPr sz="1200" b="0" i="0" u="none" strike="noStrike" cap="none">
              <a:solidFill>
                <a:srgbClr val="000000"/>
              </a:solidFill>
              <a:highlight>
                <a:srgbClr val="FFFFFF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0" marR="0" lvl="1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2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Dubai</a:t>
            </a:r>
            <a:endParaRPr sz="1200" b="0" i="0" u="none" strike="noStrike" cap="none">
              <a:solidFill>
                <a:srgbClr val="7F7F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p2"/>
          <p:cNvSpPr txBox="1"/>
          <p:nvPr/>
        </p:nvSpPr>
        <p:spPr>
          <a:xfrm>
            <a:off x="7327036" y="3398221"/>
            <a:ext cx="7511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Chief Growth </a:t>
            </a:r>
            <a:endParaRPr/>
          </a:p>
          <a:p>
            <a:pPr marL="127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000" b="0" i="0" u="none" strike="noStrike" cap="none">
                <a:solidFill>
                  <a:schemeClr val="accent4"/>
                </a:solidFill>
                <a:latin typeface="Calibri"/>
                <a:ea typeface="Calibri"/>
                <a:cs typeface="Calibri"/>
                <a:sym typeface="Calibri"/>
              </a:rPr>
              <a:t>Officer</a:t>
            </a:r>
            <a:endParaRPr sz="1000" b="0" i="0" u="none" strike="noStrike" cap="none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F2720C-77F6-82CA-697C-371CFB002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F2720C-77F6-82CA-697C-371CFB002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Team (1/2) </a:t>
            </a:r>
            <a:endParaRPr dirty="0"/>
          </a:p>
        </p:txBody>
      </p:sp>
      <p:sp>
        <p:nvSpPr>
          <p:cNvPr id="1160" name="Google Shape;1160;p3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0</a:t>
            </a:fld>
            <a:endParaRPr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2" name="Google Shape;1162;p39"/>
          <p:cNvSpPr txBox="1"/>
          <p:nvPr/>
        </p:nvSpPr>
        <p:spPr>
          <a:xfrm>
            <a:off x="545552" y="2935049"/>
            <a:ext cx="654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eam Lead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39"/>
          <p:cNvSpPr txBox="1"/>
          <p:nvPr/>
        </p:nvSpPr>
        <p:spPr>
          <a:xfrm>
            <a:off x="5053460" y="2689891"/>
            <a:ext cx="9537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66" name="Google Shape;1166;p39"/>
          <p:cNvCxnSpPr>
            <a:cxnSpLocks/>
          </p:cNvCxnSpPr>
          <p:nvPr/>
        </p:nvCxnSpPr>
        <p:spPr>
          <a:xfrm>
            <a:off x="1234762" y="3039146"/>
            <a:ext cx="2258897" cy="1125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1167" name="Google Shape;1167;p39"/>
          <p:cNvCxnSpPr/>
          <p:nvPr/>
        </p:nvCxnSpPr>
        <p:spPr>
          <a:xfrm rot="10800000" flipH="1">
            <a:off x="6095913" y="2750040"/>
            <a:ext cx="6012000" cy="168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70" name="Google Shape;1170;p39"/>
          <p:cNvSpPr txBox="1"/>
          <p:nvPr/>
        </p:nvSpPr>
        <p:spPr>
          <a:xfrm>
            <a:off x="545555" y="5058236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75" name="Google Shape;1175;p39"/>
          <p:cNvCxnSpPr/>
          <p:nvPr/>
        </p:nvCxnSpPr>
        <p:spPr>
          <a:xfrm>
            <a:off x="1268700" y="5135186"/>
            <a:ext cx="3863400" cy="135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83" name="Google Shape;1183;p39"/>
          <p:cNvSpPr txBox="1"/>
          <p:nvPr/>
        </p:nvSpPr>
        <p:spPr>
          <a:xfrm>
            <a:off x="523055" y="1213912"/>
            <a:ext cx="121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85" name="Google Shape;1185;p39"/>
          <p:cNvCxnSpPr/>
          <p:nvPr/>
        </p:nvCxnSpPr>
        <p:spPr>
          <a:xfrm>
            <a:off x="1569510" y="1287262"/>
            <a:ext cx="794700" cy="36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208" name="Google Shape;1208;p39"/>
          <p:cNvSpPr txBox="1"/>
          <p:nvPr/>
        </p:nvSpPr>
        <p:spPr>
          <a:xfrm>
            <a:off x="6339234" y="1163765"/>
            <a:ext cx="5562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09" name="Google Shape;1209;p39"/>
          <p:cNvCxnSpPr/>
          <p:nvPr/>
        </p:nvCxnSpPr>
        <p:spPr>
          <a:xfrm rot="10800000" flipH="1">
            <a:off x="7048215" y="1215214"/>
            <a:ext cx="3631800" cy="255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1152202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AED7F2-D6A1-CF84-6ECB-000987A6D9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618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6" name="Google Shape;1326;p4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MCK Team (2/2)</a:t>
            </a:r>
            <a:endParaRPr dirty="0"/>
          </a:p>
        </p:txBody>
      </p:sp>
      <p:sp>
        <p:nvSpPr>
          <p:cNvPr id="1328" name="Google Shape;1328;p40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40"/>
          <p:cNvSpPr txBox="1"/>
          <p:nvPr/>
        </p:nvSpPr>
        <p:spPr>
          <a:xfrm>
            <a:off x="541760" y="1115102"/>
            <a:ext cx="14862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Business 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nalys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0" name="Google Shape;1340;p40"/>
          <p:cNvCxnSpPr/>
          <p:nvPr/>
        </p:nvCxnSpPr>
        <p:spPr>
          <a:xfrm>
            <a:off x="2327206" y="1192052"/>
            <a:ext cx="942321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343" name="Google Shape;1343;p40"/>
          <p:cNvSpPr txBox="1"/>
          <p:nvPr/>
        </p:nvSpPr>
        <p:spPr>
          <a:xfrm>
            <a:off x="541760" y="3906701"/>
            <a:ext cx="96661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usiness 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nalysts</a:t>
            </a: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000" b="1" i="0" u="none" strike="noStrike" cap="none" dirty="0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358" name="Google Shape;1358;p40"/>
          <p:cNvCxnSpPr/>
          <p:nvPr/>
        </p:nvCxnSpPr>
        <p:spPr>
          <a:xfrm>
            <a:off x="1508371" y="4042289"/>
            <a:ext cx="10267500" cy="183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26304133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F2720C-77F6-82CA-697C-371CFB002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F2720C-77F6-82CA-697C-371CFB002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9" name="Google Shape;1159;p3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Team : EUR / ME / </a:t>
            </a:r>
            <a:r>
              <a:rPr lang="fr-FR" dirty="0" err="1"/>
              <a:t>Africa</a:t>
            </a:r>
            <a:r>
              <a:rPr lang="fr-FR" dirty="0"/>
              <a:t> / Pilot (1/2) </a:t>
            </a:r>
            <a:endParaRPr dirty="0"/>
          </a:p>
        </p:txBody>
      </p:sp>
      <p:sp>
        <p:nvSpPr>
          <p:cNvPr id="1160" name="Google Shape;1160;p3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2</a:t>
            </a:fld>
            <a:endParaRPr/>
          </a:p>
        </p:txBody>
      </p:sp>
      <p:sp>
        <p:nvSpPr>
          <p:cNvPr id="1161" name="Google Shape;1161;p39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2" name="Google Shape;1162;p39"/>
          <p:cNvSpPr txBox="1"/>
          <p:nvPr/>
        </p:nvSpPr>
        <p:spPr>
          <a:xfrm>
            <a:off x="550863" y="3261360"/>
            <a:ext cx="654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eam Lead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5" name="Google Shape;1165;p39"/>
          <p:cNvSpPr txBox="1"/>
          <p:nvPr/>
        </p:nvSpPr>
        <p:spPr>
          <a:xfrm>
            <a:off x="5029200" y="2618678"/>
            <a:ext cx="9537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66" name="Google Shape;1166;p39"/>
          <p:cNvCxnSpPr>
            <a:cxnSpLocks/>
          </p:cNvCxnSpPr>
          <p:nvPr/>
        </p:nvCxnSpPr>
        <p:spPr>
          <a:xfrm>
            <a:off x="1234761" y="3336133"/>
            <a:ext cx="2258897" cy="1125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1167" name="Google Shape;1167;p39"/>
          <p:cNvCxnSpPr/>
          <p:nvPr/>
        </p:nvCxnSpPr>
        <p:spPr>
          <a:xfrm rot="10800000" flipH="1">
            <a:off x="6095913" y="2686377"/>
            <a:ext cx="6012000" cy="168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70" name="Google Shape;1170;p39"/>
          <p:cNvSpPr txBox="1"/>
          <p:nvPr/>
        </p:nvSpPr>
        <p:spPr>
          <a:xfrm>
            <a:off x="457200" y="5029200"/>
            <a:ext cx="58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75" name="Google Shape;1175;p39"/>
          <p:cNvCxnSpPr/>
          <p:nvPr/>
        </p:nvCxnSpPr>
        <p:spPr>
          <a:xfrm>
            <a:off x="1085820" y="5128500"/>
            <a:ext cx="3863400" cy="135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83" name="Google Shape;1183;p39"/>
          <p:cNvSpPr txBox="1"/>
          <p:nvPr/>
        </p:nvSpPr>
        <p:spPr>
          <a:xfrm>
            <a:off x="523055" y="1213912"/>
            <a:ext cx="1215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85" name="Google Shape;1185;p39"/>
          <p:cNvCxnSpPr/>
          <p:nvPr/>
        </p:nvCxnSpPr>
        <p:spPr>
          <a:xfrm>
            <a:off x="1569510" y="1287262"/>
            <a:ext cx="794700" cy="36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208" name="Google Shape;1208;p39"/>
          <p:cNvSpPr txBox="1"/>
          <p:nvPr/>
        </p:nvSpPr>
        <p:spPr>
          <a:xfrm>
            <a:off x="6339234" y="1163765"/>
            <a:ext cx="5562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09" name="Google Shape;1209;p39"/>
          <p:cNvCxnSpPr/>
          <p:nvPr/>
        </p:nvCxnSpPr>
        <p:spPr>
          <a:xfrm rot="10800000" flipH="1">
            <a:off x="7048215" y="1215214"/>
            <a:ext cx="3631800" cy="255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4777174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CAED7F2-D6A1-CF84-6ECB-000987A6D9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485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CAED7F2-D6A1-CF84-6ECB-000987A6D9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6" name="Google Shape;1326;p4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 dirty="0"/>
              <a:t>BCG Team : EUR / ME / </a:t>
            </a:r>
            <a:r>
              <a:rPr lang="fr-FR" dirty="0" err="1"/>
              <a:t>Africa</a:t>
            </a:r>
            <a:r>
              <a:rPr lang="fr-FR" dirty="0"/>
              <a:t> / Pilot (2/2)</a:t>
            </a:r>
            <a:endParaRPr dirty="0"/>
          </a:p>
        </p:txBody>
      </p:sp>
      <p:sp>
        <p:nvSpPr>
          <p:cNvPr id="1328" name="Google Shape;1328;p40"/>
          <p:cNvSpPr txBox="1"/>
          <p:nvPr/>
        </p:nvSpPr>
        <p:spPr>
          <a:xfrm>
            <a:off x="1493110" y="76807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40"/>
          <p:cNvSpPr txBox="1"/>
          <p:nvPr/>
        </p:nvSpPr>
        <p:spPr>
          <a:xfrm>
            <a:off x="541760" y="1115102"/>
            <a:ext cx="14862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Business 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nalys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40" name="Google Shape;1340;p40"/>
          <p:cNvCxnSpPr/>
          <p:nvPr/>
        </p:nvCxnSpPr>
        <p:spPr>
          <a:xfrm>
            <a:off x="2327206" y="1192052"/>
            <a:ext cx="942321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343" name="Google Shape;1343;p40"/>
          <p:cNvSpPr txBox="1"/>
          <p:nvPr/>
        </p:nvSpPr>
        <p:spPr>
          <a:xfrm>
            <a:off x="541760" y="4082722"/>
            <a:ext cx="96661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usiness </a:t>
            </a:r>
            <a:r>
              <a:rPr lang="fr-FR" sz="1000" b="1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nalysts</a:t>
            </a:r>
            <a:r>
              <a:rPr lang="fr-FR" sz="10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000" b="1" i="0" u="none" strike="noStrike" cap="none" dirty="0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358" name="Google Shape;1358;p40"/>
          <p:cNvCxnSpPr/>
          <p:nvPr/>
        </p:nvCxnSpPr>
        <p:spPr>
          <a:xfrm>
            <a:off x="1508371" y="4172918"/>
            <a:ext cx="10267500" cy="183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10442134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" name="Google Shape;1566;p5"/>
          <p:cNvSpPr txBox="1">
            <a:spLocks noGrp="1"/>
          </p:cNvSpPr>
          <p:nvPr>
            <p:ph type="title"/>
          </p:nvPr>
        </p:nvSpPr>
        <p:spPr>
          <a:xfrm>
            <a:off x="551014" y="578684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Translation</a:t>
            </a:r>
            <a:endParaRPr/>
          </a:p>
        </p:txBody>
      </p:sp>
      <p:cxnSp>
        <p:nvCxnSpPr>
          <p:cNvPr id="1567" name="Google Shape;1567;p5"/>
          <p:cNvCxnSpPr/>
          <p:nvPr/>
        </p:nvCxnSpPr>
        <p:spPr>
          <a:xfrm>
            <a:off x="3257208" y="1167150"/>
            <a:ext cx="50694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568" name="Google Shape;1568;p5"/>
          <p:cNvSpPr txBox="1"/>
          <p:nvPr/>
        </p:nvSpPr>
        <p:spPr>
          <a:xfrm>
            <a:off x="4933194" y="1044040"/>
            <a:ext cx="1732200" cy="246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usiness transl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5" name="Google Shape;1615;p9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Graphic Design</a:t>
            </a:r>
            <a:endParaRPr/>
          </a:p>
        </p:txBody>
      </p:sp>
      <p:sp>
        <p:nvSpPr>
          <p:cNvPr id="1616" name="Google Shape;1616;p9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5</a:t>
            </a:fld>
            <a:endParaRPr/>
          </a:p>
        </p:txBody>
      </p:sp>
      <p:sp>
        <p:nvSpPr>
          <p:cNvPr id="1617" name="Google Shape;1617;p9"/>
          <p:cNvSpPr txBox="1"/>
          <p:nvPr/>
        </p:nvSpPr>
        <p:spPr>
          <a:xfrm>
            <a:off x="0" y="1113835"/>
            <a:ext cx="2249547" cy="2154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Graphic Design Manager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24" name="Google Shape;1624;p9"/>
          <p:cNvCxnSpPr/>
          <p:nvPr/>
        </p:nvCxnSpPr>
        <p:spPr>
          <a:xfrm>
            <a:off x="2168681" y="1242255"/>
            <a:ext cx="483079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641" name="Google Shape;1641;p9"/>
          <p:cNvSpPr txBox="1"/>
          <p:nvPr/>
        </p:nvSpPr>
        <p:spPr>
          <a:xfrm>
            <a:off x="8327580" y="1156156"/>
            <a:ext cx="1913700" cy="2154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Creative Lea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42" name="Google Shape;1642;p9"/>
          <p:cNvCxnSpPr/>
          <p:nvPr/>
        </p:nvCxnSpPr>
        <p:spPr>
          <a:xfrm>
            <a:off x="9965310" y="1267863"/>
            <a:ext cx="9177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647" name="Google Shape;1647;p9"/>
          <p:cNvSpPr txBox="1"/>
          <p:nvPr/>
        </p:nvSpPr>
        <p:spPr>
          <a:xfrm>
            <a:off x="-26718" y="2729531"/>
            <a:ext cx="2302200" cy="2154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Graphic Designer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8" name="Google Shape;1648;p9"/>
          <p:cNvSpPr txBox="1"/>
          <p:nvPr/>
        </p:nvSpPr>
        <p:spPr>
          <a:xfrm>
            <a:off x="3458520" y="2701913"/>
            <a:ext cx="2302200" cy="215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Graphic Designers</a:t>
            </a:r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49" name="Google Shape;1649;p9"/>
          <p:cNvCxnSpPr/>
          <p:nvPr/>
        </p:nvCxnSpPr>
        <p:spPr>
          <a:xfrm>
            <a:off x="2200604" y="2847602"/>
            <a:ext cx="1487700" cy="168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650" name="Google Shape;1650;p9"/>
          <p:cNvSpPr txBox="1"/>
          <p:nvPr/>
        </p:nvSpPr>
        <p:spPr>
          <a:xfrm>
            <a:off x="-47507" y="5238032"/>
            <a:ext cx="2394600" cy="246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fr-FR" sz="14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Junior Graphic Designer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1" name="Google Shape;1651;p9"/>
          <p:cNvCxnSpPr/>
          <p:nvPr/>
        </p:nvCxnSpPr>
        <p:spPr>
          <a:xfrm>
            <a:off x="2222997" y="5388185"/>
            <a:ext cx="6845589" cy="13981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658" name="Google Shape;1658;p9"/>
          <p:cNvSpPr txBox="1"/>
          <p:nvPr/>
        </p:nvSpPr>
        <p:spPr>
          <a:xfrm>
            <a:off x="4224760" y="1113046"/>
            <a:ext cx="2249547" cy="2154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Graphic Design Manager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9" name="Google Shape;1659;p9"/>
          <p:cNvCxnSpPr/>
          <p:nvPr/>
        </p:nvCxnSpPr>
        <p:spPr>
          <a:xfrm>
            <a:off x="6433580" y="1220768"/>
            <a:ext cx="483079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1660" name="Google Shape;1660;p9"/>
          <p:cNvCxnSpPr/>
          <p:nvPr/>
        </p:nvCxnSpPr>
        <p:spPr>
          <a:xfrm rot="10800000" flipH="1">
            <a:off x="5486400" y="2799462"/>
            <a:ext cx="4517596" cy="20302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663" name="Google Shape;1663;p9"/>
          <p:cNvSpPr txBox="1"/>
          <p:nvPr/>
        </p:nvSpPr>
        <p:spPr>
          <a:xfrm>
            <a:off x="9946357" y="2691739"/>
            <a:ext cx="1816409" cy="2154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roject </a:t>
            </a:r>
            <a:r>
              <a:rPr lang="fr-FR" sz="14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Coordinator</a:t>
            </a:r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74" name="Google Shape;1674;p9"/>
          <p:cNvCxnSpPr/>
          <p:nvPr/>
        </p:nvCxnSpPr>
        <p:spPr>
          <a:xfrm>
            <a:off x="11705126" y="2809613"/>
            <a:ext cx="28949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1" name="Google Shape;1681;g2017e917d32_0_20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 Data Analytics</a:t>
            </a:r>
            <a:endParaRPr/>
          </a:p>
        </p:txBody>
      </p:sp>
      <p:sp>
        <p:nvSpPr>
          <p:cNvPr id="1682" name="Google Shape;1682;g2017e917d32_0_204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26</a:t>
            </a:fld>
            <a:endParaRPr/>
          </a:p>
        </p:txBody>
      </p:sp>
      <p:sp>
        <p:nvSpPr>
          <p:cNvPr id="1683" name="Google Shape;1683;g2017e917d32_0_204"/>
          <p:cNvSpPr txBox="1"/>
          <p:nvPr/>
        </p:nvSpPr>
        <p:spPr>
          <a:xfrm>
            <a:off x="4504324" y="1217160"/>
            <a:ext cx="1409100" cy="246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fr-FR" sz="16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84" name="Google Shape;1684;g2017e917d32_0_204"/>
          <p:cNvCxnSpPr/>
          <p:nvPr/>
        </p:nvCxnSpPr>
        <p:spPr>
          <a:xfrm>
            <a:off x="3469251" y="1340310"/>
            <a:ext cx="9681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1685" name="Google Shape;1685;g2017e917d32_0_204"/>
          <p:cNvCxnSpPr/>
          <p:nvPr/>
        </p:nvCxnSpPr>
        <p:spPr>
          <a:xfrm>
            <a:off x="5953080" y="1329499"/>
            <a:ext cx="9177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Google Shape;350;p3" descr="A picture containing bed, man, white, ca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28"/>
            <a:ext cx="3478534" cy="6857143"/>
          </a:xfrm>
          <a:prstGeom prst="rect">
            <a:avLst/>
          </a:prstGeom>
          <a:noFill/>
          <a:ln>
            <a:noFill/>
          </a:ln>
        </p:spPr>
      </p:pic>
      <p:sp>
        <p:nvSpPr>
          <p:cNvPr id="351" name="Google Shape;351;p3"/>
          <p:cNvSpPr/>
          <p:nvPr/>
        </p:nvSpPr>
        <p:spPr>
          <a:xfrm>
            <a:off x="0" y="-1"/>
            <a:ext cx="3478533" cy="6857999"/>
          </a:xfrm>
          <a:prstGeom prst="rect">
            <a:avLst/>
          </a:prstGeom>
          <a:gradFill>
            <a:gsLst>
              <a:gs pos="0">
                <a:srgbClr val="062379"/>
              </a:gs>
              <a:gs pos="55000">
                <a:srgbClr val="385ED2"/>
              </a:gs>
              <a:gs pos="76000">
                <a:srgbClr val="4873F5">
                  <a:alpha val="81960"/>
                </a:srgbClr>
              </a:gs>
              <a:gs pos="100000">
                <a:srgbClr val="43E1D3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" name="Google Shape;352;p3"/>
          <p:cNvSpPr/>
          <p:nvPr/>
        </p:nvSpPr>
        <p:spPr>
          <a:xfrm>
            <a:off x="3795450" y="1606635"/>
            <a:ext cx="2050990" cy="111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Research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aphic Desig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Translatio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Analytic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3"/>
          <p:cNvSpPr/>
          <p:nvPr/>
        </p:nvSpPr>
        <p:spPr>
          <a:xfrm>
            <a:off x="10155764" y="1606635"/>
            <a:ext cx="1485071" cy="1423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8" marR="0" lvl="1" indent="-1793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uman Capit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8" marR="0" lvl="1" indent="-179388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rmation Technolog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 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fice Admin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387" marR="0" lvl="1" indent="-179387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keting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" name="Google Shape;354;p3"/>
          <p:cNvSpPr txBox="1"/>
          <p:nvPr/>
        </p:nvSpPr>
        <p:spPr>
          <a:xfrm>
            <a:off x="12062097" y="1179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7575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55" name="Google Shape;355;p3"/>
          <p:cNvGrpSpPr/>
          <p:nvPr/>
        </p:nvGrpSpPr>
        <p:grpSpPr>
          <a:xfrm>
            <a:off x="5916000" y="1485340"/>
            <a:ext cx="4023265" cy="3766024"/>
            <a:chOff x="6838838" y="2506636"/>
            <a:chExt cx="3580348" cy="3351426"/>
          </a:xfrm>
        </p:grpSpPr>
        <p:sp>
          <p:nvSpPr>
            <p:cNvPr id="356" name="Google Shape;356;p3"/>
            <p:cNvSpPr/>
            <p:nvPr/>
          </p:nvSpPr>
          <p:spPr>
            <a:xfrm rot="10800000">
              <a:off x="8628979" y="2506918"/>
              <a:ext cx="1790207" cy="1875438"/>
            </a:xfrm>
            <a:custGeom>
              <a:avLst/>
              <a:gdLst/>
              <a:ahLst/>
              <a:cxnLst/>
              <a:rect l="l" t="t" r="r" b="b"/>
              <a:pathLst>
                <a:path w="1969988" h="2063779" extrusionOk="0">
                  <a:moveTo>
                    <a:pt x="1969933" y="600391"/>
                  </a:moveTo>
                  <a:cubicBezTo>
                    <a:pt x="1943198" y="542426"/>
                    <a:pt x="1911292" y="487320"/>
                    <a:pt x="1874765" y="435789"/>
                  </a:cubicBezTo>
                  <a:cubicBezTo>
                    <a:pt x="1705057" y="196446"/>
                    <a:pt x="1435834" y="32613"/>
                    <a:pt x="1127444" y="4400"/>
                  </a:cubicBezTo>
                  <a:cubicBezTo>
                    <a:pt x="1096088" y="1540"/>
                    <a:pt x="1064292" y="0"/>
                    <a:pt x="1032166" y="0"/>
                  </a:cubicBezTo>
                  <a:cubicBezTo>
                    <a:pt x="462145" y="0"/>
                    <a:pt x="0" y="461966"/>
                    <a:pt x="0" y="1031890"/>
                  </a:cubicBezTo>
                  <a:cubicBezTo>
                    <a:pt x="0" y="1601758"/>
                    <a:pt x="462090" y="2063780"/>
                    <a:pt x="1032166" y="2063780"/>
                  </a:cubicBezTo>
                  <a:cubicBezTo>
                    <a:pt x="1448102" y="2063780"/>
                    <a:pt x="1806552" y="1817783"/>
                    <a:pt x="1969988" y="1463333"/>
                  </a:cubicBezTo>
                  <a:cubicBezTo>
                    <a:pt x="1840108" y="1182139"/>
                    <a:pt x="1847424" y="867067"/>
                    <a:pt x="1969933" y="600391"/>
                  </a:cubicBezTo>
                  <a:close/>
                </a:path>
              </a:pathLst>
            </a:custGeom>
            <a:solidFill>
              <a:srgbClr val="66D5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Google Shape;357;p3"/>
            <p:cNvSpPr/>
            <p:nvPr/>
          </p:nvSpPr>
          <p:spPr>
            <a:xfrm rot="10800000">
              <a:off x="8663923" y="2572539"/>
              <a:ext cx="1689625" cy="1744098"/>
            </a:xfrm>
            <a:custGeom>
              <a:avLst/>
              <a:gdLst/>
              <a:ahLst/>
              <a:cxnLst/>
              <a:rect l="l" t="t" r="r" b="b"/>
              <a:pathLst>
                <a:path w="1859306" h="1919249" extrusionOk="0">
                  <a:moveTo>
                    <a:pt x="1859307" y="624094"/>
                  </a:moveTo>
                  <a:cubicBezTo>
                    <a:pt x="1723210" y="259636"/>
                    <a:pt x="1371912" y="0"/>
                    <a:pt x="959882" y="0"/>
                  </a:cubicBezTo>
                  <a:cubicBezTo>
                    <a:pt x="429744" y="0"/>
                    <a:pt x="0" y="429629"/>
                    <a:pt x="0" y="959625"/>
                  </a:cubicBezTo>
                  <a:cubicBezTo>
                    <a:pt x="0" y="1489621"/>
                    <a:pt x="429744" y="1919250"/>
                    <a:pt x="959882" y="1919250"/>
                  </a:cubicBezTo>
                  <a:cubicBezTo>
                    <a:pt x="1371912" y="1919250"/>
                    <a:pt x="1723155" y="1659669"/>
                    <a:pt x="1859307" y="1295266"/>
                  </a:cubicBezTo>
                  <a:cubicBezTo>
                    <a:pt x="1782732" y="1073687"/>
                    <a:pt x="1786087" y="837424"/>
                    <a:pt x="1859307" y="624094"/>
                  </a:cubicBezTo>
                  <a:close/>
                </a:path>
              </a:pathLst>
            </a:custGeom>
            <a:gradFill>
              <a:gsLst>
                <a:gs pos="0">
                  <a:srgbClr val="CCF1FF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3"/>
            <p:cNvSpPr/>
            <p:nvPr/>
          </p:nvSpPr>
          <p:spPr>
            <a:xfrm rot="10800000">
              <a:off x="6838838" y="2506636"/>
              <a:ext cx="1876150" cy="1875729"/>
            </a:xfrm>
            <a:custGeom>
              <a:avLst/>
              <a:gdLst/>
              <a:ahLst/>
              <a:cxnLst/>
              <a:rect l="l" t="t" r="r" b="b"/>
              <a:pathLst>
                <a:path w="2064561" h="2064099" extrusionOk="0">
                  <a:moveTo>
                    <a:pt x="1926116" y="516036"/>
                  </a:moveTo>
                  <a:cubicBezTo>
                    <a:pt x="1718176" y="155977"/>
                    <a:pt x="1325950" y="-31339"/>
                    <a:pt x="937354" y="4298"/>
                  </a:cubicBezTo>
                  <a:cubicBezTo>
                    <a:pt x="853903" y="122430"/>
                    <a:pt x="744156" y="224832"/>
                    <a:pt x="610646" y="301937"/>
                  </a:cubicBezTo>
                  <a:cubicBezTo>
                    <a:pt x="477135" y="378986"/>
                    <a:pt x="333556" y="422763"/>
                    <a:pt x="189483" y="436017"/>
                  </a:cubicBezTo>
                  <a:cubicBezTo>
                    <a:pt x="152682" y="488043"/>
                    <a:pt x="120995" y="543149"/>
                    <a:pt x="94645" y="600510"/>
                  </a:cubicBezTo>
                  <a:cubicBezTo>
                    <a:pt x="-27864" y="867185"/>
                    <a:pt x="-35180" y="1182202"/>
                    <a:pt x="94645" y="1463397"/>
                  </a:cubicBezTo>
                  <a:cubicBezTo>
                    <a:pt x="107848" y="1491940"/>
                    <a:pt x="122371" y="1520208"/>
                    <a:pt x="138379" y="1547981"/>
                  </a:cubicBezTo>
                  <a:cubicBezTo>
                    <a:pt x="423389" y="2041515"/>
                    <a:pt x="1054637" y="2210627"/>
                    <a:pt x="1548358" y="1925693"/>
                  </a:cubicBezTo>
                  <a:cubicBezTo>
                    <a:pt x="2041969" y="1640649"/>
                    <a:pt x="2211127" y="1009570"/>
                    <a:pt x="1926116" y="5160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3"/>
            <p:cNvSpPr/>
            <p:nvPr/>
          </p:nvSpPr>
          <p:spPr>
            <a:xfrm rot="10800000">
              <a:off x="6904509" y="2572339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905916" y="0"/>
                    <a:pt x="852886" y="4730"/>
                    <a:pt x="801176" y="13309"/>
                  </a:cubicBezTo>
                  <a:cubicBezTo>
                    <a:pt x="728122" y="97288"/>
                    <a:pt x="640215" y="170873"/>
                    <a:pt x="538390" y="229663"/>
                  </a:cubicBezTo>
                  <a:cubicBezTo>
                    <a:pt x="436510" y="288454"/>
                    <a:pt x="328744" y="327831"/>
                    <a:pt x="219383" y="349115"/>
                  </a:cubicBezTo>
                  <a:cubicBezTo>
                    <a:pt x="82351" y="515038"/>
                    <a:pt x="0" y="727817"/>
                    <a:pt x="0" y="959790"/>
                  </a:cubicBezTo>
                  <a:cubicBezTo>
                    <a:pt x="0" y="1489842"/>
                    <a:pt x="429799" y="1919580"/>
                    <a:pt x="960047" y="1919580"/>
                  </a:cubicBezTo>
                  <a:cubicBezTo>
                    <a:pt x="1490295" y="1919580"/>
                    <a:pt x="1920093" y="1489897"/>
                    <a:pt x="1920093" y="959790"/>
                  </a:cubicBezTo>
                  <a:cubicBezTo>
                    <a:pt x="1920093" y="429684"/>
                    <a:pt x="1490240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F2F2F2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Google Shape;360;p3"/>
            <p:cNvSpPr/>
            <p:nvPr/>
          </p:nvSpPr>
          <p:spPr>
            <a:xfrm rot="10800000">
              <a:off x="7691020" y="3982296"/>
              <a:ext cx="1876212" cy="1875766"/>
            </a:xfrm>
            <a:custGeom>
              <a:avLst/>
              <a:gdLst/>
              <a:ahLst/>
              <a:cxnLst/>
              <a:rect l="l" t="t" r="r" b="b"/>
              <a:pathLst>
                <a:path w="2064631" h="2064139" extrusionOk="0">
                  <a:moveTo>
                    <a:pt x="937254" y="2059692"/>
                  </a:moveTo>
                  <a:cubicBezTo>
                    <a:pt x="1000131" y="2065576"/>
                    <a:pt x="1063779" y="2065631"/>
                    <a:pt x="1127261" y="2059802"/>
                  </a:cubicBezTo>
                  <a:cubicBezTo>
                    <a:pt x="1271334" y="2046603"/>
                    <a:pt x="1414912" y="2002826"/>
                    <a:pt x="1548423" y="1925722"/>
                  </a:cubicBezTo>
                  <a:cubicBezTo>
                    <a:pt x="1681934" y="1848672"/>
                    <a:pt x="1791680" y="1746215"/>
                    <a:pt x="1875132" y="1628083"/>
                  </a:cubicBezTo>
                  <a:cubicBezTo>
                    <a:pt x="2100291" y="1309437"/>
                    <a:pt x="2134122" y="876178"/>
                    <a:pt x="1926237" y="516119"/>
                  </a:cubicBezTo>
                  <a:cubicBezTo>
                    <a:pt x="1641226" y="22585"/>
                    <a:pt x="1009978" y="-146527"/>
                    <a:pt x="516257" y="138407"/>
                  </a:cubicBezTo>
                  <a:cubicBezTo>
                    <a:pt x="22591" y="423341"/>
                    <a:pt x="-146567" y="1054420"/>
                    <a:pt x="138444" y="1548009"/>
                  </a:cubicBezTo>
                  <a:cubicBezTo>
                    <a:pt x="154507" y="1575782"/>
                    <a:pt x="171725" y="1602510"/>
                    <a:pt x="189879" y="1628193"/>
                  </a:cubicBezTo>
                  <a:cubicBezTo>
                    <a:pt x="498324" y="1656516"/>
                    <a:pt x="767491" y="1820349"/>
                    <a:pt x="937254" y="205969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"/>
            <p:cNvSpPr/>
            <p:nvPr/>
          </p:nvSpPr>
          <p:spPr>
            <a:xfrm rot="10800000">
              <a:off x="7756697" y="4047911"/>
              <a:ext cx="1744865" cy="1744398"/>
            </a:xfrm>
            <a:custGeom>
              <a:avLst/>
              <a:gdLst/>
              <a:ahLst/>
              <a:cxnLst/>
              <a:rect l="l" t="t" r="r" b="b"/>
              <a:pathLst>
                <a:path w="1920093" h="1919580" extrusionOk="0">
                  <a:moveTo>
                    <a:pt x="960047" y="0"/>
                  </a:moveTo>
                  <a:cubicBezTo>
                    <a:pt x="429854" y="0"/>
                    <a:pt x="0" y="429684"/>
                    <a:pt x="0" y="959790"/>
                  </a:cubicBezTo>
                  <a:cubicBezTo>
                    <a:pt x="0" y="1191818"/>
                    <a:pt x="82351" y="1404598"/>
                    <a:pt x="219438" y="1570520"/>
                  </a:cubicBezTo>
                  <a:cubicBezTo>
                    <a:pt x="449823" y="1615067"/>
                    <a:pt x="652867" y="1736113"/>
                    <a:pt x="801011" y="1906216"/>
                  </a:cubicBezTo>
                  <a:cubicBezTo>
                    <a:pt x="852776" y="1914850"/>
                    <a:pt x="905861" y="1919580"/>
                    <a:pt x="960047" y="1919580"/>
                  </a:cubicBezTo>
                  <a:cubicBezTo>
                    <a:pt x="1490240" y="1919580"/>
                    <a:pt x="1920093" y="1489841"/>
                    <a:pt x="1920093" y="959790"/>
                  </a:cubicBezTo>
                  <a:cubicBezTo>
                    <a:pt x="1920093" y="429739"/>
                    <a:pt x="1490295" y="0"/>
                    <a:pt x="960047" y="0"/>
                  </a:cubicBezTo>
                  <a:close/>
                </a:path>
              </a:pathLst>
            </a:custGeom>
            <a:gradFill>
              <a:gsLst>
                <a:gs pos="0">
                  <a:srgbClr val="CDD9FC"/>
                </a:gs>
                <a:gs pos="100000">
                  <a:schemeClr val="l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sng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3"/>
            <p:cNvSpPr/>
            <p:nvPr/>
          </p:nvSpPr>
          <p:spPr>
            <a:xfrm>
              <a:off x="8074552" y="4631918"/>
              <a:ext cx="1147843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</a:t>
              </a:r>
              <a:b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velopment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3" name="Google Shape;363;p3"/>
            <p:cNvSpPr/>
            <p:nvPr/>
          </p:nvSpPr>
          <p:spPr>
            <a:xfrm>
              <a:off x="9185819" y="3155079"/>
              <a:ext cx="609528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ervice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4" name="Google Shape;364;p3"/>
            <p:cNvSpPr/>
            <p:nvPr/>
          </p:nvSpPr>
          <p:spPr>
            <a:xfrm>
              <a:off x="7182745" y="3155079"/>
              <a:ext cx="1209697" cy="493009"/>
            </a:xfrm>
            <a:custGeom>
              <a:avLst/>
              <a:gdLst/>
              <a:ahLst/>
              <a:cxnLst/>
              <a:rect l="l" t="t" r="r" b="b"/>
              <a:pathLst>
                <a:path w="4864734" h="247014" extrusionOk="0">
                  <a:moveTo>
                    <a:pt x="0" y="0"/>
                  </a:moveTo>
                  <a:lnTo>
                    <a:pt x="0" y="246888"/>
                  </a:lnTo>
                  <a:lnTo>
                    <a:pt x="4864608" y="246888"/>
                  </a:lnTo>
                  <a:lnTo>
                    <a:pt x="486460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livery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fr-FR" sz="18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usiness Line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5" name="Google Shape;365;p3"/>
            <p:cNvSpPr txBox="1"/>
            <p:nvPr/>
          </p:nvSpPr>
          <p:spPr>
            <a:xfrm>
              <a:off x="9869320" y="5262646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575757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6" name="Google Shape;366;p3"/>
          <p:cNvSpPr/>
          <p:nvPr/>
        </p:nvSpPr>
        <p:spPr>
          <a:xfrm>
            <a:off x="7129001" y="5441499"/>
            <a:ext cx="1931698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9387" marR="0" lvl="1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Noto Sans"/>
              <a:buChar char="▪"/>
            </a:pPr>
            <a:r>
              <a:rPr lang="fr-FR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siness Development (sale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7" name="Google Shape;367;p3"/>
          <p:cNvSpPr txBox="1"/>
          <p:nvPr/>
        </p:nvSpPr>
        <p:spPr>
          <a:xfrm>
            <a:off x="533402" y="2514600"/>
            <a:ext cx="2945132" cy="1772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Franklin Gothic"/>
              <a:buNone/>
            </a:pPr>
            <a:r>
              <a:rPr lang="fr-FR" sz="3200" b="0" i="0" u="none" strike="noStrike" cap="none">
                <a:solidFill>
                  <a:schemeClr val="lt1"/>
                </a:solidFill>
                <a:latin typeface="Franklin Gothic"/>
                <a:ea typeface="Franklin Gothic"/>
                <a:cs typeface="Franklin Gothic"/>
                <a:sym typeface="Franklin Gothic"/>
              </a:rPr>
              <a:t>Infomineo teams are split into different service lin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8" name="Google Shape;368;p3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3</a:t>
            </a:fld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p6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Business Development Team</a:t>
            </a:r>
            <a:endParaRPr/>
          </a:p>
        </p:txBody>
      </p:sp>
      <p:sp>
        <p:nvSpPr>
          <p:cNvPr id="374" name="Google Shape;374;p6"/>
          <p:cNvSpPr/>
          <p:nvPr/>
        </p:nvSpPr>
        <p:spPr>
          <a:xfrm>
            <a:off x="8387931" y="1751337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business opportunitie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6"/>
          <p:cNvSpPr/>
          <p:nvPr/>
        </p:nvSpPr>
        <p:spPr>
          <a:xfrm>
            <a:off x="8387931" y="2275094"/>
            <a:ext cx="3309300" cy="831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pping key stakeholders &amp; defining the appropriate action pla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9" name="Google Shape;379;p6"/>
          <p:cNvSpPr/>
          <p:nvPr/>
        </p:nvSpPr>
        <p:spPr>
          <a:xfrm>
            <a:off x="8387931" y="3286162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ordinating proposals and contracting process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6"/>
          <p:cNvSpPr/>
          <p:nvPr/>
        </p:nvSpPr>
        <p:spPr>
          <a:xfrm>
            <a:off x="8387931" y="4086918"/>
            <a:ext cx="33093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intaining an update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1" name="Google Shape;381;p6"/>
          <p:cNvSpPr/>
          <p:nvPr/>
        </p:nvSpPr>
        <p:spPr>
          <a:xfrm>
            <a:off x="8387931" y="4610675"/>
            <a:ext cx="3309300" cy="55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ing clients with necessary collatera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6"/>
          <p:cNvSpPr/>
          <p:nvPr/>
        </p:nvSpPr>
        <p:spPr>
          <a:xfrm>
            <a:off x="8387930" y="5411429"/>
            <a:ext cx="3480982" cy="55399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ing an Account Management &amp; planning for each key accou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83" name="Google Shape;383;p6"/>
          <p:cNvCxnSpPr/>
          <p:nvPr/>
        </p:nvCxnSpPr>
        <p:spPr>
          <a:xfrm>
            <a:off x="685800" y="1181992"/>
            <a:ext cx="57798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cxnSp>
        <p:nvCxnSpPr>
          <p:cNvPr id="384" name="Google Shape;384;p6"/>
          <p:cNvCxnSpPr/>
          <p:nvPr/>
        </p:nvCxnSpPr>
        <p:spPr>
          <a:xfrm>
            <a:off x="7190509" y="1315048"/>
            <a:ext cx="447510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385" name="Google Shape;385;p6"/>
          <p:cNvSpPr/>
          <p:nvPr/>
        </p:nvSpPr>
        <p:spPr>
          <a:xfrm>
            <a:off x="8550283" y="1176549"/>
            <a:ext cx="17556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at do they do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6" name="Google Shape;386;p6"/>
          <p:cNvSpPr/>
          <p:nvPr/>
        </p:nvSpPr>
        <p:spPr>
          <a:xfrm>
            <a:off x="2772034" y="1009347"/>
            <a:ext cx="1454700" cy="276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" tIns="0" rIns="3600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Who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are </a:t>
            </a:r>
            <a:r>
              <a:rPr lang="fr-FR" sz="1800" b="0" i="0" u="none" strike="noStrike" cap="none" dirty="0" err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they</a:t>
            </a:r>
            <a:r>
              <a:rPr lang="fr-FR" sz="18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7" name="Google Shape;387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98940" y="1764191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8" name="Google Shape;388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98940" y="2291133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89" name="Google Shape;389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98940" y="3299608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0" name="Google Shape;390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98940" y="4097771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" name="Google Shape;391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98940" y="4624714"/>
            <a:ext cx="259969" cy="259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2" name="Google Shape;392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98940" y="5438375"/>
            <a:ext cx="259969" cy="259969"/>
          </a:xfrm>
          <a:prstGeom prst="rect">
            <a:avLst/>
          </a:prstGeom>
          <a:noFill/>
          <a:ln>
            <a:noFill/>
          </a:ln>
        </p:spPr>
      </p:pic>
      <p:sp>
        <p:nvSpPr>
          <p:cNvPr id="395" name="Google Shape;395;p6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4</a:t>
            </a:fld>
            <a:endParaRPr/>
          </a:p>
        </p:txBody>
      </p:sp>
      <p:sp>
        <p:nvSpPr>
          <p:cNvPr id="419" name="Google Shape;419;p6"/>
          <p:cNvSpPr txBox="1"/>
          <p:nvPr/>
        </p:nvSpPr>
        <p:spPr>
          <a:xfrm>
            <a:off x="171095" y="2413373"/>
            <a:ext cx="15897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0" name="Google Shape;420;p6"/>
          <p:cNvCxnSpPr/>
          <p:nvPr/>
        </p:nvCxnSpPr>
        <p:spPr>
          <a:xfrm>
            <a:off x="1660083" y="2521594"/>
            <a:ext cx="1839301" cy="15596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1" name="Google Shape;421;p6"/>
          <p:cNvSpPr txBox="1"/>
          <p:nvPr/>
        </p:nvSpPr>
        <p:spPr>
          <a:xfrm>
            <a:off x="4497320" y="2403017"/>
            <a:ext cx="158962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2" name="Google Shape;422;p6"/>
          <p:cNvCxnSpPr/>
          <p:nvPr/>
        </p:nvCxnSpPr>
        <p:spPr>
          <a:xfrm>
            <a:off x="5709737" y="2495350"/>
            <a:ext cx="2067376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3" name="Google Shape;423;p6"/>
          <p:cNvSpPr txBox="1"/>
          <p:nvPr/>
        </p:nvSpPr>
        <p:spPr>
          <a:xfrm>
            <a:off x="171095" y="3848428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ssociate Vice</a:t>
            </a:r>
            <a:r>
              <a:rPr lang="fr-FR" sz="1200" b="1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 P</a:t>
            </a: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sid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4" name="Google Shape;424;p6"/>
          <p:cNvCxnSpPr/>
          <p:nvPr/>
        </p:nvCxnSpPr>
        <p:spPr>
          <a:xfrm>
            <a:off x="1895243" y="3952806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5" name="Google Shape;425;p6"/>
          <p:cNvSpPr txBox="1"/>
          <p:nvPr/>
        </p:nvSpPr>
        <p:spPr>
          <a:xfrm>
            <a:off x="171094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nior 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6" name="Google Shape;426;p6"/>
          <p:cNvCxnSpPr/>
          <p:nvPr/>
        </p:nvCxnSpPr>
        <p:spPr>
          <a:xfrm>
            <a:off x="1972138" y="551950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7" name="Google Shape;427;p6"/>
          <p:cNvSpPr txBox="1"/>
          <p:nvPr/>
        </p:nvSpPr>
        <p:spPr>
          <a:xfrm>
            <a:off x="4516931" y="5418906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Account Execu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28" name="Google Shape;428;p6"/>
          <p:cNvCxnSpPr/>
          <p:nvPr/>
        </p:nvCxnSpPr>
        <p:spPr>
          <a:xfrm>
            <a:off x="5849414" y="5527323"/>
            <a:ext cx="1189635" cy="716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29" name="Google Shape;429;p6"/>
          <p:cNvSpPr txBox="1"/>
          <p:nvPr/>
        </p:nvSpPr>
        <p:spPr>
          <a:xfrm>
            <a:off x="5643079" y="3935894"/>
            <a:ext cx="173070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D Lea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30" name="Google Shape;430;p6"/>
          <p:cNvCxnSpPr/>
          <p:nvPr/>
        </p:nvCxnSpPr>
        <p:spPr>
          <a:xfrm rot="10800000" flipH="1">
            <a:off x="6414734" y="4029335"/>
            <a:ext cx="1057145" cy="375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  <p:extLst>
      <p:ext uri="{BB962C8B-B14F-4D97-AF65-F5344CB8AC3E}">
        <p14:creationId xmlns:p14="http://schemas.microsoft.com/office/powerpoint/2010/main" val="3050035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7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Service Team (1/2)</a:t>
            </a:r>
            <a:endParaRPr/>
          </a:p>
        </p:txBody>
      </p:sp>
      <p:sp>
        <p:nvSpPr>
          <p:cNvPr id="443" name="Google Shape;443;p7"/>
          <p:cNvSpPr txBox="1"/>
          <p:nvPr/>
        </p:nvSpPr>
        <p:spPr>
          <a:xfrm>
            <a:off x="393240" y="2472190"/>
            <a:ext cx="74226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uman Capita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44" name="Google Shape;444;p7"/>
          <p:cNvCxnSpPr/>
          <p:nvPr/>
        </p:nvCxnSpPr>
        <p:spPr>
          <a:xfrm rot="10800000" flipH="1">
            <a:off x="1074660" y="2636155"/>
            <a:ext cx="10724100" cy="207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50" name="Google Shape;450;p7"/>
          <p:cNvSpPr txBox="1"/>
          <p:nvPr/>
        </p:nvSpPr>
        <p:spPr>
          <a:xfrm>
            <a:off x="393240" y="1068749"/>
            <a:ext cx="49212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Finan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51" name="Google Shape;451;p7"/>
          <p:cNvCxnSpPr/>
          <p:nvPr/>
        </p:nvCxnSpPr>
        <p:spPr>
          <a:xfrm>
            <a:off x="1074660" y="1167952"/>
            <a:ext cx="6811800" cy="252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2" name="Google Shape;450;p7">
            <a:extLst>
              <a:ext uri="{FF2B5EF4-FFF2-40B4-BE49-F238E27FC236}">
                <a16:creationId xmlns:a16="http://schemas.microsoft.com/office/drawing/2014/main" id="{014C27FA-2464-8987-893D-1AA06C3956A7}"/>
              </a:ext>
            </a:extLst>
          </p:cNvPr>
          <p:cNvSpPr txBox="1"/>
          <p:nvPr/>
        </p:nvSpPr>
        <p:spPr>
          <a:xfrm>
            <a:off x="393241" y="5262901"/>
            <a:ext cx="74226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Operat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" name="Google Shape;451;p7">
            <a:extLst>
              <a:ext uri="{FF2B5EF4-FFF2-40B4-BE49-F238E27FC236}">
                <a16:creationId xmlns:a16="http://schemas.microsoft.com/office/drawing/2014/main" id="{E4FF24FF-F76C-E31E-ED08-250D129BC416}"/>
              </a:ext>
            </a:extLst>
          </p:cNvPr>
          <p:cNvCxnSpPr/>
          <p:nvPr/>
        </p:nvCxnSpPr>
        <p:spPr>
          <a:xfrm>
            <a:off x="1236785" y="5365139"/>
            <a:ext cx="6811800" cy="252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g1fc61549362_1_0"/>
          <p:cNvSpPr txBox="1">
            <a:spLocks noGrp="1"/>
          </p:cNvSpPr>
          <p:nvPr>
            <p:ph type="sldNum" idx="12"/>
          </p:nvPr>
        </p:nvSpPr>
        <p:spPr>
          <a:xfrm>
            <a:off x="11556173" y="6122568"/>
            <a:ext cx="1185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  <p:sp>
        <p:nvSpPr>
          <p:cNvPr id="516" name="Google Shape;516;g1fc61549362_1_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901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Service Team(2/2)</a:t>
            </a:r>
            <a:endParaRPr/>
          </a:p>
        </p:txBody>
      </p:sp>
      <p:sp>
        <p:nvSpPr>
          <p:cNvPr id="517" name="Google Shape;517;g1fc61549362_1_0"/>
          <p:cNvSpPr txBox="1"/>
          <p:nvPr/>
        </p:nvSpPr>
        <p:spPr>
          <a:xfrm>
            <a:off x="550863" y="1408102"/>
            <a:ext cx="1539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IT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18" name="Google Shape;518;g1fc61549362_1_0"/>
          <p:cNvCxnSpPr/>
          <p:nvPr/>
        </p:nvCxnSpPr>
        <p:spPr>
          <a:xfrm rot="10800000" flipH="1">
            <a:off x="893568" y="1466656"/>
            <a:ext cx="7995600" cy="321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22" name="Google Shape;522;g1fc61549362_1_0"/>
          <p:cNvSpPr txBox="1"/>
          <p:nvPr/>
        </p:nvSpPr>
        <p:spPr>
          <a:xfrm>
            <a:off x="473268" y="5013745"/>
            <a:ext cx="8406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Office Admi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23" name="Google Shape;523;g1fc61549362_1_0"/>
          <p:cNvCxnSpPr>
            <a:cxnSpLocks/>
          </p:cNvCxnSpPr>
          <p:nvPr/>
        </p:nvCxnSpPr>
        <p:spPr>
          <a:xfrm flipV="1">
            <a:off x="1426369" y="5106145"/>
            <a:ext cx="7462799" cy="25135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34" name="Google Shape;534;g1fc61549362_1_0"/>
          <p:cNvSpPr txBox="1">
            <a:spLocks noGrp="1"/>
          </p:cNvSpPr>
          <p:nvPr>
            <p:ph type="sldNum" idx="12"/>
          </p:nvPr>
        </p:nvSpPr>
        <p:spPr>
          <a:xfrm>
            <a:off x="11556173" y="6122568"/>
            <a:ext cx="1185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6</a:t>
            </a:fld>
            <a:endParaRPr/>
          </a:p>
        </p:txBody>
      </p:sp>
      <p:sp>
        <p:nvSpPr>
          <p:cNvPr id="535" name="Google Shape;535;g1fc61549362_1_0"/>
          <p:cNvSpPr txBox="1"/>
          <p:nvPr/>
        </p:nvSpPr>
        <p:spPr>
          <a:xfrm>
            <a:off x="528039" y="3022292"/>
            <a:ext cx="7479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Marketing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36" name="Google Shape;536;g1fc61549362_1_0"/>
          <p:cNvCxnSpPr/>
          <p:nvPr/>
        </p:nvCxnSpPr>
        <p:spPr>
          <a:xfrm rot="10800000" flipH="1">
            <a:off x="1279067" y="3152097"/>
            <a:ext cx="7462800" cy="750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8"/>
          <p:cNvSpPr/>
          <p:nvPr/>
        </p:nvSpPr>
        <p:spPr>
          <a:xfrm>
            <a:off x="550863" y="1993529"/>
            <a:ext cx="2651060" cy="1428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the company’s finan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strategic recommenda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ecast, Budget and other repor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nsfer Pric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view vendor’s contrac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travel expenses and PO polic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3" name="Google Shape;553;p8"/>
          <p:cNvSpPr/>
          <p:nvPr/>
        </p:nvSpPr>
        <p:spPr>
          <a:xfrm>
            <a:off x="6544413" y="1993529"/>
            <a:ext cx="2651060" cy="217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and process pay slip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ll pay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voice the custom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ck due diligence for suppli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and check bill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gal and tax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cial statem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udget controllin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 travel expenses and PO polic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" name="Google Shape;554;p8"/>
          <p:cNvSpPr/>
          <p:nvPr/>
        </p:nvSpPr>
        <p:spPr>
          <a:xfrm>
            <a:off x="550863" y="4511678"/>
            <a:ext cx="3502977" cy="1613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er contracting processes (incl. due dilige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eaning &amp; controlling of BD C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ections, accounts receivabl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 reports and dashboards for BD tea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lculate VP commiss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pport the local admin tasks for the Dubai company (e.g. Health insuranc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5" name="Google Shape;555;p8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Finance</a:t>
            </a:r>
            <a:endParaRPr/>
          </a:p>
        </p:txBody>
      </p:sp>
      <p:sp>
        <p:nvSpPr>
          <p:cNvPr id="556" name="Google Shape;556;p8"/>
          <p:cNvSpPr txBox="1"/>
          <p:nvPr/>
        </p:nvSpPr>
        <p:spPr>
          <a:xfrm>
            <a:off x="550863" y="1530092"/>
            <a:ext cx="185538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Finance Strategic Topic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7" name="Google Shape;557;p8"/>
          <p:cNvCxnSpPr/>
          <p:nvPr/>
        </p:nvCxnSpPr>
        <p:spPr>
          <a:xfrm>
            <a:off x="2514178" y="1637814"/>
            <a:ext cx="3279061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58" name="Google Shape;558;p8"/>
          <p:cNvSpPr txBox="1"/>
          <p:nvPr/>
        </p:nvSpPr>
        <p:spPr>
          <a:xfrm>
            <a:off x="6544413" y="1530092"/>
            <a:ext cx="174368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Country Finance Topics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59" name="Google Shape;559;p8"/>
          <p:cNvCxnSpPr/>
          <p:nvPr/>
        </p:nvCxnSpPr>
        <p:spPr>
          <a:xfrm>
            <a:off x="8300948" y="1637814"/>
            <a:ext cx="3339887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0" name="Google Shape;560;p8"/>
          <p:cNvSpPr txBox="1"/>
          <p:nvPr/>
        </p:nvSpPr>
        <p:spPr>
          <a:xfrm>
            <a:off x="550863" y="4216547"/>
            <a:ext cx="360284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usiness Controller Topics, supporting BD team</a:t>
            </a:r>
            <a:endParaRPr sz="1400" b="1" i="0" u="none" strike="noStrike" cap="none">
              <a:solidFill>
                <a:srgbClr val="00B0F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561" name="Google Shape;561;p8"/>
          <p:cNvCxnSpPr/>
          <p:nvPr/>
        </p:nvCxnSpPr>
        <p:spPr>
          <a:xfrm>
            <a:off x="4314548" y="4373964"/>
            <a:ext cx="147689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67" name="Google Shape;567;p8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7</a:t>
            </a:fld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44"/>
          <p:cNvSpPr/>
          <p:nvPr/>
        </p:nvSpPr>
        <p:spPr>
          <a:xfrm>
            <a:off x="560577" y="1592509"/>
            <a:ext cx="2793796" cy="15234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all steering of the Human Capital Func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2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ing and implementing Infomineo HR policies across the offic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Professional Development Initiativ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seeing Talent Recruitment and Retention strateg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ibuting to the overall company strategy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" name="Google Shape;582;p44"/>
          <p:cNvSpPr/>
          <p:nvPr/>
        </p:nvSpPr>
        <p:spPr>
          <a:xfrm>
            <a:off x="6255453" y="4130655"/>
            <a:ext cx="2217786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abor law and complia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any policies &amp; procedure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yroll &amp; Leave administration, incl. Social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mpensation and benefit programs, incl. Health &amp; life insurance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ministrative request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mployees Issues, and complains 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nboarding/offboarding proces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" name="Google Shape;583;p44"/>
          <p:cNvSpPr/>
          <p:nvPr/>
        </p:nvSpPr>
        <p:spPr>
          <a:xfrm>
            <a:off x="6258444" y="1576057"/>
            <a:ext cx="2841934" cy="150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ffing Committee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ining &amp; E- Learning (Onboarding and Ongoing)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rformance Evaluation </a:t>
            </a:r>
            <a:r>
              <a:rPr lang="fr-F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eer Develop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ltancy and coaching for managers and their team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bility program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4" name="Google Shape;584;p44"/>
          <p:cNvSpPr/>
          <p:nvPr/>
        </p:nvSpPr>
        <p:spPr>
          <a:xfrm>
            <a:off x="579211" y="3927941"/>
            <a:ext cx="2651060" cy="13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acting new talents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pplication processes and interviews management 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cruitment event planning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lent pool cultivation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ndidates Referrals</a:t>
            </a:r>
            <a:endParaRPr sz="11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ttrition analys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5" name="Google Shape;585;p44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Human Capital</a:t>
            </a:r>
            <a:endParaRPr/>
          </a:p>
        </p:txBody>
      </p:sp>
      <p:cxnSp>
        <p:nvCxnSpPr>
          <p:cNvPr id="586" name="Google Shape;586;p44"/>
          <p:cNvCxnSpPr/>
          <p:nvPr/>
        </p:nvCxnSpPr>
        <p:spPr>
          <a:xfrm>
            <a:off x="2854359" y="1191860"/>
            <a:ext cx="282197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7" name="Google Shape;587;p44"/>
          <p:cNvSpPr txBox="1"/>
          <p:nvPr/>
        </p:nvSpPr>
        <p:spPr>
          <a:xfrm>
            <a:off x="6303759" y="3629387"/>
            <a:ext cx="3499403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R Administration &amp; Compensation &amp; Benefi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8" name="Google Shape;588;p44"/>
          <p:cNvCxnSpPr/>
          <p:nvPr/>
        </p:nvCxnSpPr>
        <p:spPr>
          <a:xfrm rot="10800000" flipH="1">
            <a:off x="9837045" y="3762199"/>
            <a:ext cx="1562792" cy="8019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89" name="Google Shape;589;p44"/>
          <p:cNvSpPr txBox="1"/>
          <p:nvPr/>
        </p:nvSpPr>
        <p:spPr>
          <a:xfrm>
            <a:off x="6255520" y="1083009"/>
            <a:ext cx="295462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5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Professional Development Topics </a:t>
            </a:r>
            <a:endParaRPr sz="15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0" name="Google Shape;590;p44"/>
          <p:cNvCxnSpPr/>
          <p:nvPr/>
        </p:nvCxnSpPr>
        <p:spPr>
          <a:xfrm>
            <a:off x="8963884" y="1215048"/>
            <a:ext cx="2458054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1" name="Google Shape;591;p44"/>
          <p:cNvSpPr txBox="1"/>
          <p:nvPr/>
        </p:nvSpPr>
        <p:spPr>
          <a:xfrm>
            <a:off x="531395" y="3610104"/>
            <a:ext cx="146136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cruitment Topic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2" name="Google Shape;592;p44"/>
          <p:cNvCxnSpPr/>
          <p:nvPr/>
        </p:nvCxnSpPr>
        <p:spPr>
          <a:xfrm>
            <a:off x="2109444" y="3756361"/>
            <a:ext cx="3607105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597" name="Google Shape;597;p44"/>
          <p:cNvSpPr txBox="1">
            <a:spLocks noGrp="1"/>
          </p:cNvSpPr>
          <p:nvPr>
            <p:ph type="sldNum" idx="12"/>
          </p:nvPr>
        </p:nvSpPr>
        <p:spPr>
          <a:xfrm>
            <a:off x="11749936" y="6537483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8</a:t>
            </a:fld>
            <a:endParaRPr/>
          </a:p>
        </p:txBody>
      </p:sp>
      <p:sp>
        <p:nvSpPr>
          <p:cNvPr id="608" name="Google Shape;608;p44"/>
          <p:cNvSpPr txBox="1"/>
          <p:nvPr/>
        </p:nvSpPr>
        <p:spPr>
          <a:xfrm>
            <a:off x="473486" y="1084138"/>
            <a:ext cx="265106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fr-FR" sz="14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Human Capital Strategic Topic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" name="Google Shape;629;p10"/>
          <p:cNvSpPr txBox="1">
            <a:spLocks noGrp="1"/>
          </p:cNvSpPr>
          <p:nvPr>
            <p:ph type="title"/>
          </p:nvPr>
        </p:nvSpPr>
        <p:spPr>
          <a:xfrm>
            <a:off x="550863" y="560588"/>
            <a:ext cx="11089972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Franklin Gothic"/>
              <a:buNone/>
            </a:pPr>
            <a:r>
              <a:rPr lang="fr-FR"/>
              <a:t>Operations</a:t>
            </a:r>
            <a:endParaRPr/>
          </a:p>
        </p:txBody>
      </p:sp>
      <p:sp>
        <p:nvSpPr>
          <p:cNvPr id="630" name="Google Shape;630;p10"/>
          <p:cNvSpPr/>
          <p:nvPr/>
        </p:nvSpPr>
        <p:spPr>
          <a:xfrm>
            <a:off x="7282019" y="4559027"/>
            <a:ext cx="1908000" cy="2103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preparation for periodic reports for COO and manager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ist the COO in setting and managing Operations metrics and goal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e incidents related to Odoo system 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aging deliverable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porting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10"/>
          <p:cNvSpPr/>
          <p:nvPr/>
        </p:nvSpPr>
        <p:spPr>
          <a:xfrm>
            <a:off x="4719272" y="1847002"/>
            <a:ext cx="2020601" cy="18543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recruitment targets to make sure capacity meets demand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eam staffing coordination to maximize utilization level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velop and maintain an operations dashboard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fine knowledge capitalization &amp; strategie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" name="Google Shape;632;p10"/>
          <p:cNvSpPr/>
          <p:nvPr/>
        </p:nvSpPr>
        <p:spPr>
          <a:xfrm>
            <a:off x="9657494" y="1847002"/>
            <a:ext cx="1908000" cy="2039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llaborate with service teams on different matter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sure a good local value proposition to attract the best talent.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ts as interface with local administration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inuous contributions to the office's profitability with Operations team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" name="Google Shape;633;p10"/>
          <p:cNvSpPr txBox="1"/>
          <p:nvPr/>
        </p:nvSpPr>
        <p:spPr>
          <a:xfrm>
            <a:off x="7464960" y="4065668"/>
            <a:ext cx="19080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erations’ Team Members </a:t>
            </a:r>
            <a:endParaRPr sz="14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" name="Google Shape;634;p10"/>
          <p:cNvSpPr txBox="1"/>
          <p:nvPr/>
        </p:nvSpPr>
        <p:spPr>
          <a:xfrm>
            <a:off x="4860606" y="1553221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ief Operating Officer</a:t>
            </a:r>
            <a:endParaRPr sz="14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5" name="Google Shape;635;p10"/>
          <p:cNvSpPr txBox="1"/>
          <p:nvPr/>
        </p:nvSpPr>
        <p:spPr>
          <a:xfrm>
            <a:off x="9810989" y="1553221"/>
            <a:ext cx="19080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untry Managers</a:t>
            </a:r>
            <a:endParaRPr sz="14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6" name="Google Shape;636;p10"/>
          <p:cNvSpPr txBox="1"/>
          <p:nvPr/>
        </p:nvSpPr>
        <p:spPr>
          <a:xfrm>
            <a:off x="639070" y="1334009"/>
            <a:ext cx="108478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200" b="1" i="0" u="none" strike="noStrike" cap="none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Opera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7" name="Google Shape;637;p10"/>
          <p:cNvCxnSpPr/>
          <p:nvPr/>
        </p:nvCxnSpPr>
        <p:spPr>
          <a:xfrm>
            <a:off x="1724843" y="1444106"/>
            <a:ext cx="9862320" cy="0"/>
          </a:xfrm>
          <a:prstGeom prst="straightConnector1">
            <a:avLst/>
          </a:prstGeom>
          <a:noFill/>
          <a:ln w="9525" cap="rnd" cmpd="sng">
            <a:solidFill>
              <a:srgbClr val="00B0F0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640" name="Google Shape;640;p10"/>
          <p:cNvSpPr txBox="1">
            <a:spLocks noGrp="1"/>
          </p:cNvSpPr>
          <p:nvPr>
            <p:ph type="sldNum" idx="12"/>
          </p:nvPr>
        </p:nvSpPr>
        <p:spPr>
          <a:xfrm>
            <a:off x="11490153" y="6465614"/>
            <a:ext cx="150682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fr-FR"/>
              <a:t>9</a:t>
            </a:fld>
            <a:endParaRPr/>
          </a:p>
        </p:txBody>
      </p:sp>
      <p:sp>
        <p:nvSpPr>
          <p:cNvPr id="646" name="Google Shape;646;p10"/>
          <p:cNvSpPr/>
          <p:nvPr/>
        </p:nvSpPr>
        <p:spPr>
          <a:xfrm>
            <a:off x="7137815" y="1847002"/>
            <a:ext cx="2020602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dership of service quality across global delivery team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ment and launch of new services and Business Lin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eation, improvement, and control of key processes impacting delivery</a:t>
            </a:r>
            <a:endParaRPr sz="10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Google Shape;647;p10"/>
          <p:cNvSpPr txBox="1"/>
          <p:nvPr/>
        </p:nvSpPr>
        <p:spPr>
          <a:xfrm>
            <a:off x="7282017" y="1553221"/>
            <a:ext cx="2274341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rector of Delivery Excellence</a:t>
            </a:r>
            <a:endParaRPr sz="14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8" name="Google Shape;648;p10"/>
          <p:cNvSpPr txBox="1"/>
          <p:nvPr/>
        </p:nvSpPr>
        <p:spPr>
          <a:xfrm>
            <a:off x="4901847" y="4065668"/>
            <a:ext cx="2235968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fr-FR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gital Transformation Manager</a:t>
            </a:r>
            <a:endParaRPr sz="14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0"/>
          <p:cNvSpPr/>
          <p:nvPr/>
        </p:nvSpPr>
        <p:spPr>
          <a:xfrm>
            <a:off x="4748002" y="4559027"/>
            <a:ext cx="2061845" cy="2031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d infomineo's digital transformation project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cus on process improvement across departments, from support to delivery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verage technology to improve service quality for internal &amp; external custom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6213" marR="0" lvl="1" indent="-1762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0"/>
              <a:buFont typeface="Noto Sans"/>
              <a:buChar char="▪"/>
            </a:pPr>
            <a:r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ement lean &amp; continuous improvement practices</a:t>
            </a: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mineo_Dark Colors">
      <a:dk1>
        <a:srgbClr val="444444"/>
      </a:dk1>
      <a:lt1>
        <a:srgbClr val="FFFFFF"/>
      </a:lt1>
      <a:dk2>
        <a:srgbClr val="0F47F2"/>
      </a:dk2>
      <a:lt2>
        <a:srgbClr val="E6EBF5"/>
      </a:lt2>
      <a:accent1>
        <a:srgbClr val="00B9FF"/>
      </a:accent1>
      <a:accent2>
        <a:srgbClr val="BEBEBE"/>
      </a:accent2>
      <a:accent3>
        <a:srgbClr val="158177"/>
      </a:accent3>
      <a:accent4>
        <a:srgbClr val="00B050"/>
      </a:accent4>
      <a:accent5>
        <a:srgbClr val="FFD700"/>
      </a:accent5>
      <a:accent6>
        <a:srgbClr val="5014B4"/>
      </a:accent6>
      <a:hlink>
        <a:srgbClr val="0F47F2"/>
      </a:hlink>
      <a:folHlink>
        <a:srgbClr val="999A9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5</TotalTime>
  <Words>1286</Words>
  <Application>Microsoft Office PowerPoint</Application>
  <PresentationFormat>Widescreen</PresentationFormat>
  <Paragraphs>274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5" baseType="lpstr">
      <vt:lpstr>Noto Sans</vt:lpstr>
      <vt:lpstr>Calibri</vt:lpstr>
      <vt:lpstr>Gill Sans</vt:lpstr>
      <vt:lpstr>Franklin Gothic</vt:lpstr>
      <vt:lpstr>Arial</vt:lpstr>
      <vt:lpstr>Libre Franklin</vt:lpstr>
      <vt:lpstr>Office Theme</vt:lpstr>
      <vt:lpstr>think-cell Slide</vt:lpstr>
      <vt:lpstr>Who’s Who</vt:lpstr>
      <vt:lpstr>Infomineo Executive Committee</vt:lpstr>
      <vt:lpstr>PowerPoint Presentation</vt:lpstr>
      <vt:lpstr>Business Development Team</vt:lpstr>
      <vt:lpstr>Service Team (1/2)</vt:lpstr>
      <vt:lpstr>Service Team(2/2)</vt:lpstr>
      <vt:lpstr>Finance</vt:lpstr>
      <vt:lpstr>Human Capital</vt:lpstr>
      <vt:lpstr>Operations</vt:lpstr>
      <vt:lpstr>Information Technology</vt:lpstr>
      <vt:lpstr>Marketing</vt:lpstr>
      <vt:lpstr>Office Admin - Management &amp; Logistics </vt:lpstr>
      <vt:lpstr>Business Research (1/4) – More info about team assignment on slides 15 to 17</vt:lpstr>
      <vt:lpstr>Business Research (2/4) – More info about team assignment on slides 15 to 17</vt:lpstr>
      <vt:lpstr>Business Research (3/4) – More info about team assignment on Slides 15 to 17</vt:lpstr>
      <vt:lpstr>Business Research (4/4) – More info about team assignment on Slides 15 to 17</vt:lpstr>
      <vt:lpstr>PowerPoint Presentation</vt:lpstr>
      <vt:lpstr>Insights &amp; Knowledge Team (IKT) (1/2) </vt:lpstr>
      <vt:lpstr>Insights &amp; Knowledge Team (IKT) (2/2) </vt:lpstr>
      <vt:lpstr>MCK Team (1/2) </vt:lpstr>
      <vt:lpstr>MCK Team (2/2)</vt:lpstr>
      <vt:lpstr>BCG Team : EUR / ME / Africa / Pilot (1/2) </vt:lpstr>
      <vt:lpstr>BCG Team : EUR / ME / Africa / Pilot (2/2)</vt:lpstr>
      <vt:lpstr>Business Translation</vt:lpstr>
      <vt:lpstr>Graphic Design</vt:lpstr>
      <vt:lpstr> Data Analytic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o’s Who</dc:title>
  <dc:creator>Muhammad Fattouh</dc:creator>
  <cp:lastModifiedBy>Casa 3</cp:lastModifiedBy>
  <cp:revision>55</cp:revision>
  <dcterms:created xsi:type="dcterms:W3CDTF">2020-11-03T07:44:30Z</dcterms:created>
  <dcterms:modified xsi:type="dcterms:W3CDTF">2023-04-19T21:24:38Z</dcterms:modified>
</cp:coreProperties>
</file>